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05" r:id="rId4"/>
  </p:sldMasterIdLst>
  <p:notesMasterIdLst>
    <p:notesMasterId r:id="rId10"/>
  </p:notesMasterIdLst>
  <p:handoutMasterIdLst>
    <p:handoutMasterId r:id="rId11"/>
  </p:handoutMasterIdLst>
  <p:sldIdLst>
    <p:sldId id="493" r:id="rId5"/>
    <p:sldId id="510" r:id="rId6"/>
    <p:sldId id="511" r:id="rId7"/>
    <p:sldId id="512" r:id="rId8"/>
    <p:sldId id="413" r:id="rId9"/>
  </p:sldIdLst>
  <p:sldSz cx="12188825" cy="6858000"/>
  <p:notesSz cx="9144000" cy="6858000"/>
  <p:custDataLst>
    <p:tags r:id="rId1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E63F2ED1-2B26-42AE-8052-8695005F5D15}">
          <p14:sldIdLst>
            <p14:sldId id="493"/>
            <p14:sldId id="510"/>
            <p14:sldId id="511"/>
            <p14:sldId id="512"/>
          </p14:sldIdLst>
        </p14:section>
        <p14:section name="Additional Detail" id="{87C5B1D6-77F8-440C-BC59-269C59F81B42}">
          <p14:sldIdLst>
            <p14:sldId id="413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80">
          <p15:clr>
            <a:srgbClr val="A4A3A4"/>
          </p15:clr>
        </p15:guide>
        <p15:guide id="3" orient="horz" pos="2352" userDrawn="1">
          <p15:clr>
            <a:srgbClr val="A4A3A4"/>
          </p15:clr>
        </p15:guide>
        <p15:guide id="4" orient="horz" pos="3795">
          <p15:clr>
            <a:srgbClr val="A4A3A4"/>
          </p15:clr>
        </p15:guide>
        <p15:guide id="6" orient="horz" pos="4175">
          <p15:clr>
            <a:srgbClr val="A4A3A4"/>
          </p15:clr>
        </p15:guide>
        <p15:guide id="7" pos="293">
          <p15:clr>
            <a:srgbClr val="A4A3A4"/>
          </p15:clr>
        </p15:guide>
        <p15:guide id="8" pos="7397">
          <p15:clr>
            <a:srgbClr val="A4A3A4"/>
          </p15:clr>
        </p15:guide>
        <p15:guide id="9" pos="1463" userDrawn="1">
          <p15:clr>
            <a:srgbClr val="A4A3A4"/>
          </p15:clr>
        </p15:guide>
        <p15:guide id="10" pos="6191" userDrawn="1">
          <p15:clr>
            <a:srgbClr val="A4A3A4"/>
          </p15:clr>
        </p15:guide>
        <p15:guide id="11" pos="3840">
          <p15:clr>
            <a:srgbClr val="A4A3A4"/>
          </p15:clr>
        </p15:guide>
        <p15:guide id="12" pos="2639" userDrawn="1">
          <p15:clr>
            <a:srgbClr val="A4A3A4"/>
          </p15:clr>
        </p15:guide>
        <p15:guide id="13" pos="5015" userDrawn="1">
          <p15:clr>
            <a:srgbClr val="A4A3A4"/>
          </p15:clr>
        </p15:guide>
        <p15:guide id="14" orient="horz" pos="279">
          <p15:clr>
            <a:srgbClr val="A4A3A4"/>
          </p15:clr>
        </p15:guide>
        <p15:guide id="15" orient="horz" pos="768" userDrawn="1">
          <p15:clr>
            <a:srgbClr val="A4A3A4"/>
          </p15:clr>
        </p15:guide>
        <p15:guide id="16" orient="horz" pos="4152" userDrawn="1">
          <p15:clr>
            <a:srgbClr val="A4A3A4"/>
          </p15:clr>
        </p15:guide>
        <p15:guide id="17" orient="horz" pos="912" userDrawn="1">
          <p15:clr>
            <a:srgbClr val="A4A3A4"/>
          </p15:clr>
        </p15:guide>
        <p15:guide id="18" orient="horz" pos="3931">
          <p15:clr>
            <a:srgbClr val="A4A3A4"/>
          </p15:clr>
        </p15:guide>
        <p15:guide id="19" pos="3791" userDrawn="1">
          <p15:clr>
            <a:srgbClr val="A4A3A4"/>
          </p15:clr>
        </p15:guide>
        <p15:guide id="20" pos="3887" userDrawn="1">
          <p15:clr>
            <a:srgbClr val="A4A3A4"/>
          </p15:clr>
        </p15:guide>
        <p15:guide id="21" orient="horz" pos="2304" userDrawn="1">
          <p15:clr>
            <a:srgbClr val="A4A3A4"/>
          </p15:clr>
        </p15:guide>
        <p15:guide id="22" orient="horz" pos="2400" userDrawn="1">
          <p15:clr>
            <a:srgbClr val="A4A3A4"/>
          </p15:clr>
        </p15:guide>
        <p15:guide id="23" orient="horz" pos="286">
          <p15:clr>
            <a:srgbClr val="A4A3A4"/>
          </p15:clr>
        </p15:guide>
        <p15:guide id="24" orient="horz" pos="285">
          <p15:clr>
            <a:srgbClr val="A4A3A4"/>
          </p15:clr>
        </p15:guide>
        <p15:guide id="25" orient="horz" pos="401">
          <p15:clr>
            <a:srgbClr val="A4A3A4"/>
          </p15:clr>
        </p15:guide>
        <p15:guide id="26" orient="horz" pos="1039">
          <p15:clr>
            <a:srgbClr val="A4A3A4"/>
          </p15:clr>
        </p15:guide>
        <p15:guide id="27" pos="738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tthew J Rogers" initials="MJR" lastIdx="1" clrIdx="0">
    <p:extLst>
      <p:ext uri="{19B8F6BF-5375-455C-9EA6-DF929625EA0E}">
        <p15:presenceInfo xmlns:p15="http://schemas.microsoft.com/office/powerpoint/2012/main" userId="Matthew J Rogers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88491"/>
    <a:srgbClr val="E0F0F3"/>
    <a:srgbClr val="F0F8F9"/>
    <a:srgbClr val="F2F2F2"/>
    <a:srgbClr val="F7F7F7"/>
    <a:srgbClr val="ECECEC"/>
    <a:srgbClr val="E2E2E2"/>
    <a:srgbClr val="D1E9ED"/>
    <a:srgbClr val="B18CC1"/>
    <a:srgbClr val="D9D9D9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331" autoAdjust="0"/>
    <p:restoredTop sz="93910" autoAdjust="0"/>
  </p:normalViewPr>
  <p:slideViewPr>
    <p:cSldViewPr snapToGrid="0">
      <p:cViewPr varScale="1">
        <p:scale>
          <a:sx n="59" d="100"/>
          <a:sy n="59" d="100"/>
        </p:scale>
        <p:origin x="630" y="60"/>
      </p:cViewPr>
      <p:guideLst>
        <p:guide orient="horz" pos="280"/>
        <p:guide orient="horz" pos="2352"/>
        <p:guide orient="horz" pos="3795"/>
        <p:guide orient="horz" pos="4175"/>
        <p:guide pos="293"/>
        <p:guide pos="7397"/>
        <p:guide pos="1463"/>
        <p:guide pos="6191"/>
        <p:guide pos="3840"/>
        <p:guide pos="2639"/>
        <p:guide pos="5015"/>
        <p:guide orient="horz" pos="279"/>
        <p:guide orient="horz" pos="768"/>
        <p:guide orient="horz" pos="4152"/>
        <p:guide orient="horz" pos="912"/>
        <p:guide orient="horz" pos="3931"/>
        <p:guide pos="3791"/>
        <p:guide pos="3887"/>
        <p:guide orient="horz" pos="2304"/>
        <p:guide orient="horz" pos="2400"/>
        <p:guide orient="horz" pos="286"/>
        <p:guide orient="horz" pos="285"/>
        <p:guide orient="horz" pos="401"/>
        <p:guide orient="horz" pos="1039"/>
        <p:guide pos="7383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200" d="100"/>
        <a:sy n="200" d="100"/>
      </p:scale>
      <p:origin x="0" y="-1310"/>
    </p:cViewPr>
  </p:sorterViewPr>
  <p:notesViewPr>
    <p:cSldViewPr snapToGrid="0" snapToObjects="1">
      <p:cViewPr varScale="1">
        <p:scale>
          <a:sx n="65" d="100"/>
          <a:sy n="65" d="100"/>
        </p:scale>
        <p:origin x="1928" y="40"/>
      </p:cViewPr>
      <p:guideLst>
        <p:guide orient="horz" pos="2160"/>
        <p:guide pos="288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sz="1000" dirty="0">
              <a:latin typeface="Open Sans Light"/>
              <a:cs typeface="Open Sans Ligh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2541AEF-3112-6549-914A-E0D9B60F40EA}" type="datetimeFigureOut">
              <a:rPr lang="en-US" sz="1000" smtClean="0">
                <a:latin typeface="Open Sans Light"/>
                <a:cs typeface="Open Sans Light"/>
              </a:rPr>
              <a:t>3/11/2022</a:t>
            </a:fld>
            <a:endParaRPr lang="en-US" sz="1000" dirty="0">
              <a:latin typeface="Open Sans Light"/>
              <a:cs typeface="Open Sans Light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sz="1000" dirty="0">
              <a:latin typeface="Open Sans Light"/>
              <a:cs typeface="Open Sans Light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180013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293638-C25A-9844-8D5B-B0309EC5F961}" type="slidenum">
              <a:rPr lang="en-US" sz="1000" smtClean="0">
                <a:latin typeface="Open Sans Light"/>
                <a:cs typeface="Open Sans Light"/>
              </a:rPr>
              <a:t>‹#›</a:t>
            </a:fld>
            <a:endParaRPr lang="en-US" sz="1000" dirty="0">
              <a:latin typeface="Open Sans Light"/>
              <a:cs typeface="Open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347683461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>
                <a:latin typeface="Open Sans Light"/>
                <a:cs typeface="Open Sans Light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>
                <a:latin typeface="Open Sans Light"/>
                <a:cs typeface="Open Sans Light"/>
              </a:defRPr>
            </a:lvl1pPr>
          </a:lstStyle>
          <a:p>
            <a:fld id="{EC2C7003-A6A9-A249-88AD-8CFDA7DED64B}" type="datetimeFigureOut">
              <a:rPr lang="en-US" smtClean="0"/>
              <a:pPr/>
              <a:t>3/11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286000" y="514350"/>
            <a:ext cx="4572000" cy="2571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257550"/>
            <a:ext cx="7315200" cy="30861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latin typeface="Open Sans Light"/>
                <a:cs typeface="Open Sans Light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>
                <a:latin typeface="Open Sans Light"/>
                <a:cs typeface="Open Sans Light"/>
              </a:defRPr>
            </a:lvl1pPr>
          </a:lstStyle>
          <a:p>
            <a:fld id="{50AD15A5-6128-B84F-818D-8AA5BDD9AF9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62699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Open Sans Light"/>
        <a:ea typeface="+mn-ea"/>
        <a:cs typeface="Open Sans Light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Open Sans Light"/>
        <a:ea typeface="+mn-ea"/>
        <a:cs typeface="Open Sans Light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Open Sans Light"/>
        <a:ea typeface="+mn-ea"/>
        <a:cs typeface="Open Sans Light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Open Sans Light"/>
        <a:ea typeface="+mn-ea"/>
        <a:cs typeface="Open Sans Light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Open Sans Light"/>
        <a:ea typeface="+mn-ea"/>
        <a:cs typeface="Open Sans Light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250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dirty="0"/>
              <a:t>We believe UDF  </a:t>
            </a:r>
            <a:r>
              <a:rPr lang="en-US" altLang="en-US" dirty="0" err="1"/>
              <a:t>nified</a:t>
            </a:r>
            <a:r>
              <a:rPr lang="en-US" altLang="en-US" dirty="0"/>
              <a:t> data fabric for all analytical data will enable more consistent, accurate and usable information for analytic applications and insight-driven business decisions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047118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chemeClr val="tx1"/>
                </a:solidFill>
              </a:rPr>
              <a:t>We will support self service data discovery, access, data preparation, and exploration for the analytic consumer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02222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olid Teal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88951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" name="Rectangle 54"/>
          <p:cNvSpPr/>
          <p:nvPr userDrawn="1"/>
        </p:nvSpPr>
        <p:spPr>
          <a:xfrm>
            <a:off x="0" y="1"/>
            <a:ext cx="12188821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Domaine Display" charset="0"/>
              <a:ea typeface="Domaine Display" charset="0"/>
              <a:cs typeface="Domaine Display" charset="0"/>
            </a:endParaRPr>
          </a:p>
        </p:txBody>
      </p:sp>
      <p:sp>
        <p:nvSpPr>
          <p:cNvPr id="56" name="Rectangle 55"/>
          <p:cNvSpPr/>
          <p:nvPr userDrawn="1"/>
        </p:nvSpPr>
        <p:spPr>
          <a:xfrm>
            <a:off x="-1" y="1448245"/>
            <a:ext cx="12188952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latin typeface="Open Sans Bold"/>
              <a:cs typeface="Open Sans Bold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46876" y="371026"/>
            <a:ext cx="9686100" cy="476805"/>
          </a:xfrm>
          <a:prstGeom prst="rect">
            <a:avLst/>
          </a:prstGeom>
        </p:spPr>
        <p:txBody>
          <a:bodyPr anchor="b"/>
          <a:lstStyle>
            <a:lvl1pPr algn="l">
              <a:defRPr sz="3000" b="1">
                <a:solidFill>
                  <a:schemeClr val="bg1"/>
                </a:solidFill>
                <a:latin typeface="Domaine Display Bold" panose="020A0803080505060203" pitchFamily="18" charset="0"/>
                <a:ea typeface="Domaine Display Bold" panose="020A0803080505060203" pitchFamily="18" charset="0"/>
                <a:cs typeface="Domaine Display Bold" panose="020A0803080505060203" pitchFamily="18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46877" y="860151"/>
            <a:ext cx="9686099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 userDrawn="1"/>
        </p:nvCxnSpPr>
        <p:spPr>
          <a:xfrm>
            <a:off x="10361175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0" name="Group 59"/>
          <p:cNvGrpSpPr>
            <a:grpSpLocks noChangeAspect="1"/>
          </p:cNvGrpSpPr>
          <p:nvPr userDrawn="1"/>
        </p:nvGrpSpPr>
        <p:grpSpPr>
          <a:xfrm>
            <a:off x="10577133" y="371026"/>
            <a:ext cx="1417320" cy="783522"/>
            <a:chOff x="7526204" y="2289887"/>
            <a:chExt cx="3108960" cy="1718692"/>
          </a:xfrm>
        </p:grpSpPr>
        <p:grpSp>
          <p:nvGrpSpPr>
            <p:cNvPr id="61" name="Group 60"/>
            <p:cNvGrpSpPr>
              <a:grpSpLocks noChangeAspect="1"/>
            </p:cNvGrpSpPr>
            <p:nvPr/>
          </p:nvGrpSpPr>
          <p:grpSpPr>
            <a:xfrm>
              <a:off x="8070916" y="2865025"/>
              <a:ext cx="2148840" cy="827025"/>
              <a:chOff x="-2522495" y="1678245"/>
              <a:chExt cx="2126771" cy="818532"/>
            </a:xfrm>
          </p:grpSpPr>
          <p:sp>
            <p:nvSpPr>
              <p:cNvPr id="63" name="TextBox 62"/>
              <p:cNvSpPr txBox="1">
                <a:spLocks/>
              </p:cNvSpPr>
              <p:nvPr/>
            </p:nvSpPr>
            <p:spPr>
              <a:xfrm>
                <a:off x="-2130523" y="1678245"/>
                <a:ext cx="486642" cy="382152"/>
              </a:xfrm>
              <a:custGeom>
                <a:avLst/>
                <a:gdLst/>
                <a:ahLst/>
                <a:cxnLst/>
                <a:rect l="l" t="t" r="r" b="b"/>
                <a:pathLst>
                  <a:path w="486642" h="382152">
                    <a:moveTo>
                      <a:pt x="150943" y="0"/>
                    </a:moveTo>
                    <a:cubicBezTo>
                      <a:pt x="191582" y="0"/>
                      <a:pt x="224490" y="12368"/>
                      <a:pt x="232082" y="39810"/>
                    </a:cubicBezTo>
                    <a:lnTo>
                      <a:pt x="232262" y="41192"/>
                    </a:lnTo>
                    <a:lnTo>
                      <a:pt x="244394" y="27828"/>
                    </a:lnTo>
                    <a:cubicBezTo>
                      <a:pt x="265912" y="9086"/>
                      <a:pt x="296328" y="0"/>
                      <a:pt x="331918" y="0"/>
                    </a:cubicBezTo>
                    <a:cubicBezTo>
                      <a:pt x="355140" y="0"/>
                      <a:pt x="375838" y="4038"/>
                      <a:pt x="390730" y="12620"/>
                    </a:cubicBezTo>
                    <a:lnTo>
                      <a:pt x="399550" y="19037"/>
                    </a:lnTo>
                    <a:lnTo>
                      <a:pt x="415123" y="9213"/>
                    </a:lnTo>
                    <a:cubicBezTo>
                      <a:pt x="421204" y="6846"/>
                      <a:pt x="427956" y="5553"/>
                      <a:pt x="435150" y="5553"/>
                    </a:cubicBezTo>
                    <a:cubicBezTo>
                      <a:pt x="464430" y="5553"/>
                      <a:pt x="486642" y="26250"/>
                      <a:pt x="486642" y="53511"/>
                    </a:cubicBezTo>
                    <a:cubicBezTo>
                      <a:pt x="486642" y="80772"/>
                      <a:pt x="464430" y="101974"/>
                      <a:pt x="435150" y="101974"/>
                    </a:cubicBezTo>
                    <a:cubicBezTo>
                      <a:pt x="420763" y="101974"/>
                      <a:pt x="408142" y="96674"/>
                      <a:pt x="399118" y="87965"/>
                    </a:cubicBezTo>
                    <a:lnTo>
                      <a:pt x="397141" y="85099"/>
                    </a:lnTo>
                    <a:lnTo>
                      <a:pt x="387023" y="90979"/>
                    </a:lnTo>
                    <a:cubicBezTo>
                      <a:pt x="381675" y="92887"/>
                      <a:pt x="375838" y="93897"/>
                      <a:pt x="369780" y="93897"/>
                    </a:cubicBezTo>
                    <a:cubicBezTo>
                      <a:pt x="355140" y="93897"/>
                      <a:pt x="342015" y="89354"/>
                      <a:pt x="335452" y="81781"/>
                    </a:cubicBezTo>
                    <a:cubicBezTo>
                      <a:pt x="350092" y="78247"/>
                      <a:pt x="359179" y="66132"/>
                      <a:pt x="359179" y="42910"/>
                    </a:cubicBezTo>
                    <a:cubicBezTo>
                      <a:pt x="359179" y="22717"/>
                      <a:pt x="350597" y="8077"/>
                      <a:pt x="331918" y="8077"/>
                    </a:cubicBezTo>
                    <a:cubicBezTo>
                      <a:pt x="308696" y="8077"/>
                      <a:pt x="300619" y="29784"/>
                      <a:pt x="300619" y="58054"/>
                    </a:cubicBezTo>
                    <a:lnTo>
                      <a:pt x="300619" y="132264"/>
                    </a:lnTo>
                    <a:lnTo>
                      <a:pt x="363217" y="132264"/>
                    </a:lnTo>
                    <a:lnTo>
                      <a:pt x="360693" y="144884"/>
                    </a:lnTo>
                    <a:lnTo>
                      <a:pt x="300619" y="144884"/>
                    </a:lnTo>
                    <a:lnTo>
                      <a:pt x="300619" y="327126"/>
                    </a:lnTo>
                    <a:cubicBezTo>
                      <a:pt x="300619" y="360445"/>
                      <a:pt x="312230" y="369027"/>
                      <a:pt x="339490" y="381142"/>
                    </a:cubicBezTo>
                    <a:lnTo>
                      <a:pt x="339490" y="382152"/>
                    </a:lnTo>
                    <a:lnTo>
                      <a:pt x="186529" y="382152"/>
                    </a:lnTo>
                    <a:lnTo>
                      <a:pt x="186529" y="381142"/>
                    </a:lnTo>
                    <a:cubicBezTo>
                      <a:pt x="208741" y="367007"/>
                      <a:pt x="210255" y="360445"/>
                      <a:pt x="210255" y="327126"/>
                    </a:cubicBezTo>
                    <a:lnTo>
                      <a:pt x="210255" y="144884"/>
                    </a:lnTo>
                    <a:lnTo>
                      <a:pt x="180976" y="144884"/>
                    </a:lnTo>
                    <a:lnTo>
                      <a:pt x="180976" y="139331"/>
                    </a:lnTo>
                    <a:lnTo>
                      <a:pt x="210255" y="128225"/>
                    </a:lnTo>
                    <a:lnTo>
                      <a:pt x="210255" y="113585"/>
                    </a:lnTo>
                    <a:lnTo>
                      <a:pt x="212504" y="87227"/>
                    </a:lnTo>
                    <a:lnTo>
                      <a:pt x="206048" y="90979"/>
                    </a:lnTo>
                    <a:cubicBezTo>
                      <a:pt x="200700" y="92887"/>
                      <a:pt x="194863" y="93897"/>
                      <a:pt x="188805" y="93897"/>
                    </a:cubicBezTo>
                    <a:cubicBezTo>
                      <a:pt x="174165" y="93897"/>
                      <a:pt x="161040" y="89354"/>
                      <a:pt x="154477" y="81781"/>
                    </a:cubicBezTo>
                    <a:cubicBezTo>
                      <a:pt x="169117" y="78247"/>
                      <a:pt x="178204" y="66132"/>
                      <a:pt x="178204" y="42910"/>
                    </a:cubicBezTo>
                    <a:cubicBezTo>
                      <a:pt x="178204" y="22717"/>
                      <a:pt x="169622" y="8077"/>
                      <a:pt x="150943" y="8077"/>
                    </a:cubicBezTo>
                    <a:cubicBezTo>
                      <a:pt x="127721" y="8077"/>
                      <a:pt x="119644" y="29784"/>
                      <a:pt x="119644" y="58054"/>
                    </a:cubicBezTo>
                    <a:lnTo>
                      <a:pt x="119644" y="132264"/>
                    </a:lnTo>
                    <a:lnTo>
                      <a:pt x="182242" y="132264"/>
                    </a:lnTo>
                    <a:lnTo>
                      <a:pt x="179718" y="144884"/>
                    </a:lnTo>
                    <a:lnTo>
                      <a:pt x="119644" y="144884"/>
                    </a:lnTo>
                    <a:lnTo>
                      <a:pt x="119644" y="327126"/>
                    </a:lnTo>
                    <a:cubicBezTo>
                      <a:pt x="119644" y="360445"/>
                      <a:pt x="131255" y="369027"/>
                      <a:pt x="158516" y="381142"/>
                    </a:cubicBezTo>
                    <a:lnTo>
                      <a:pt x="158516" y="382152"/>
                    </a:lnTo>
                    <a:lnTo>
                      <a:pt x="5554" y="382152"/>
                    </a:lnTo>
                    <a:lnTo>
                      <a:pt x="5554" y="381142"/>
                    </a:lnTo>
                    <a:cubicBezTo>
                      <a:pt x="27766" y="367007"/>
                      <a:pt x="29280" y="360445"/>
                      <a:pt x="29280" y="327126"/>
                    </a:cubicBezTo>
                    <a:lnTo>
                      <a:pt x="29280" y="144884"/>
                    </a:lnTo>
                    <a:lnTo>
                      <a:pt x="0" y="144884"/>
                    </a:lnTo>
                    <a:lnTo>
                      <a:pt x="0" y="139331"/>
                    </a:lnTo>
                    <a:lnTo>
                      <a:pt x="29280" y="128225"/>
                    </a:lnTo>
                    <a:lnTo>
                      <a:pt x="29280" y="113585"/>
                    </a:lnTo>
                    <a:cubicBezTo>
                      <a:pt x="29280" y="36347"/>
                      <a:pt x="79763" y="0"/>
                      <a:pt x="15094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64" name="TextBox 63"/>
              <p:cNvSpPr txBox="1">
                <a:spLocks/>
              </p:cNvSpPr>
              <p:nvPr/>
            </p:nvSpPr>
            <p:spPr>
              <a:xfrm>
                <a:off x="-2522495" y="1701971"/>
                <a:ext cx="362969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62969" h="363474">
                    <a:moveTo>
                      <a:pt x="181737" y="0"/>
                    </a:moveTo>
                    <a:cubicBezTo>
                      <a:pt x="285731" y="0"/>
                      <a:pt x="362969" y="75724"/>
                      <a:pt x="362969" y="181737"/>
                    </a:cubicBezTo>
                    <a:cubicBezTo>
                      <a:pt x="362969" y="287751"/>
                      <a:pt x="285731" y="363474"/>
                      <a:pt x="181737" y="363474"/>
                    </a:cubicBezTo>
                    <a:cubicBezTo>
                      <a:pt x="77238" y="363474"/>
                      <a:pt x="0" y="287751"/>
                      <a:pt x="0" y="181737"/>
                    </a:cubicBezTo>
                    <a:cubicBezTo>
                      <a:pt x="0" y="75724"/>
                      <a:pt x="77238" y="0"/>
                      <a:pt x="181737" y="0"/>
                    </a:cubicBezTo>
                    <a:close/>
                    <a:moveTo>
                      <a:pt x="181737" y="10097"/>
                    </a:moveTo>
                    <a:cubicBezTo>
                      <a:pt x="123682" y="10097"/>
                      <a:pt x="103994" y="70676"/>
                      <a:pt x="103994" y="181737"/>
                    </a:cubicBezTo>
                    <a:cubicBezTo>
                      <a:pt x="103994" y="292799"/>
                      <a:pt x="123682" y="353378"/>
                      <a:pt x="181737" y="353378"/>
                    </a:cubicBezTo>
                    <a:cubicBezTo>
                      <a:pt x="239287" y="353378"/>
                      <a:pt x="258975" y="292799"/>
                      <a:pt x="258975" y="181737"/>
                    </a:cubicBezTo>
                    <a:cubicBezTo>
                      <a:pt x="258975" y="70676"/>
                      <a:pt x="239287" y="10097"/>
                      <a:pt x="181737" y="1009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65" name="TextBox 64"/>
              <p:cNvSpPr txBox="1">
                <a:spLocks/>
              </p:cNvSpPr>
              <p:nvPr/>
            </p:nvSpPr>
            <p:spPr>
              <a:xfrm>
                <a:off x="-1602104" y="1805461"/>
                <a:ext cx="245345" cy="259984"/>
              </a:xfrm>
              <a:custGeom>
                <a:avLst/>
                <a:gdLst/>
                <a:ahLst/>
                <a:cxnLst/>
                <a:rect l="l" t="t" r="r" b="b"/>
                <a:pathLst>
                  <a:path w="245345" h="259984">
                    <a:moveTo>
                      <a:pt x="144885" y="0"/>
                    </a:moveTo>
                    <a:cubicBezTo>
                      <a:pt x="199406" y="0"/>
                      <a:pt x="240297" y="23726"/>
                      <a:pt x="240297" y="65122"/>
                    </a:cubicBezTo>
                    <a:cubicBezTo>
                      <a:pt x="240297" y="95411"/>
                      <a:pt x="217075" y="111061"/>
                      <a:pt x="192843" y="111061"/>
                    </a:cubicBezTo>
                    <a:cubicBezTo>
                      <a:pt x="166087" y="111061"/>
                      <a:pt x="150438" y="96421"/>
                      <a:pt x="148923" y="81781"/>
                    </a:cubicBezTo>
                    <a:cubicBezTo>
                      <a:pt x="151952" y="82791"/>
                      <a:pt x="155486" y="83296"/>
                      <a:pt x="158010" y="83296"/>
                    </a:cubicBezTo>
                    <a:cubicBezTo>
                      <a:pt x="176689" y="83296"/>
                      <a:pt x="184261" y="67646"/>
                      <a:pt x="184261" y="48463"/>
                    </a:cubicBezTo>
                    <a:cubicBezTo>
                      <a:pt x="184261" y="24231"/>
                      <a:pt x="171136" y="8582"/>
                      <a:pt x="145894" y="8582"/>
                    </a:cubicBezTo>
                    <a:cubicBezTo>
                      <a:pt x="110557" y="8582"/>
                      <a:pt x="93897" y="54016"/>
                      <a:pt x="93897" y="112575"/>
                    </a:cubicBezTo>
                    <a:cubicBezTo>
                      <a:pt x="93897" y="181737"/>
                      <a:pt x="124692" y="218589"/>
                      <a:pt x="171640" y="218589"/>
                    </a:cubicBezTo>
                    <a:cubicBezTo>
                      <a:pt x="200415" y="218589"/>
                      <a:pt x="226666" y="204958"/>
                      <a:pt x="242316" y="173659"/>
                    </a:cubicBezTo>
                    <a:lnTo>
                      <a:pt x="245345" y="175174"/>
                    </a:lnTo>
                    <a:cubicBezTo>
                      <a:pt x="231210" y="229190"/>
                      <a:pt x="185775" y="259984"/>
                      <a:pt x="129740" y="259984"/>
                    </a:cubicBezTo>
                    <a:cubicBezTo>
                      <a:pt x="60074" y="259984"/>
                      <a:pt x="0" y="213036"/>
                      <a:pt x="0" y="134788"/>
                    </a:cubicBezTo>
                    <a:cubicBezTo>
                      <a:pt x="0" y="49977"/>
                      <a:pt x="63608" y="0"/>
                      <a:pt x="144885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66" name="TextBox 65"/>
              <p:cNvSpPr txBox="1">
                <a:spLocks/>
              </p:cNvSpPr>
              <p:nvPr/>
            </p:nvSpPr>
            <p:spPr>
              <a:xfrm>
                <a:off x="-1335404" y="1805461"/>
                <a:ext cx="251908" cy="259984"/>
              </a:xfrm>
              <a:custGeom>
                <a:avLst/>
                <a:gdLst/>
                <a:ahLst/>
                <a:cxnLst/>
                <a:rect l="l" t="t" r="r" b="b"/>
                <a:pathLst>
                  <a:path w="251908" h="259984">
                    <a:moveTo>
                      <a:pt x="132264" y="0"/>
                    </a:moveTo>
                    <a:cubicBezTo>
                      <a:pt x="213541" y="0"/>
                      <a:pt x="251908" y="51996"/>
                      <a:pt x="251908" y="118633"/>
                    </a:cubicBezTo>
                    <a:lnTo>
                      <a:pt x="91373" y="118633"/>
                    </a:lnTo>
                    <a:cubicBezTo>
                      <a:pt x="91373" y="181232"/>
                      <a:pt x="124187" y="218589"/>
                      <a:pt x="172650" y="218589"/>
                    </a:cubicBezTo>
                    <a:cubicBezTo>
                      <a:pt x="203444" y="218589"/>
                      <a:pt x="230200" y="204958"/>
                      <a:pt x="245850" y="173659"/>
                    </a:cubicBezTo>
                    <a:lnTo>
                      <a:pt x="249383" y="175174"/>
                    </a:lnTo>
                    <a:cubicBezTo>
                      <a:pt x="234744" y="229190"/>
                      <a:pt x="189309" y="259984"/>
                      <a:pt x="131759" y="259984"/>
                    </a:cubicBezTo>
                    <a:cubicBezTo>
                      <a:pt x="59569" y="259984"/>
                      <a:pt x="0" y="212531"/>
                      <a:pt x="0" y="130244"/>
                    </a:cubicBezTo>
                    <a:cubicBezTo>
                      <a:pt x="0" y="50987"/>
                      <a:pt x="60074" y="0"/>
                      <a:pt x="132264" y="0"/>
                    </a:cubicBezTo>
                    <a:close/>
                    <a:moveTo>
                      <a:pt x="132264" y="8582"/>
                    </a:moveTo>
                    <a:cubicBezTo>
                      <a:pt x="106013" y="8582"/>
                      <a:pt x="92888" y="48463"/>
                      <a:pt x="91878" y="108032"/>
                    </a:cubicBezTo>
                    <a:lnTo>
                      <a:pt x="165078" y="108032"/>
                    </a:lnTo>
                    <a:cubicBezTo>
                      <a:pt x="165078" y="51492"/>
                      <a:pt x="161039" y="8582"/>
                      <a:pt x="132264" y="858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67" name="TextBox 66"/>
              <p:cNvSpPr txBox="1">
                <a:spLocks/>
              </p:cNvSpPr>
              <p:nvPr/>
            </p:nvSpPr>
            <p:spPr>
              <a:xfrm>
                <a:off x="-1766048" y="1810509"/>
                <a:ext cx="140846" cy="249888"/>
              </a:xfrm>
              <a:custGeom>
                <a:avLst/>
                <a:gdLst/>
                <a:ahLst/>
                <a:cxnLst/>
                <a:rect l="l" t="t" r="r" b="b"/>
                <a:pathLst>
                  <a:path w="140846" h="249888">
                    <a:moveTo>
                      <a:pt x="0" y="0"/>
                    </a:moveTo>
                    <a:lnTo>
                      <a:pt x="117119" y="0"/>
                    </a:lnTo>
                    <a:lnTo>
                      <a:pt x="117119" y="194862"/>
                    </a:lnTo>
                    <a:cubicBezTo>
                      <a:pt x="117119" y="228181"/>
                      <a:pt x="118633" y="234743"/>
                      <a:pt x="140846" y="248878"/>
                    </a:cubicBezTo>
                    <a:lnTo>
                      <a:pt x="140846" y="249888"/>
                    </a:lnTo>
                    <a:lnTo>
                      <a:pt x="3029" y="249888"/>
                    </a:lnTo>
                    <a:lnTo>
                      <a:pt x="3029" y="248878"/>
                    </a:lnTo>
                    <a:cubicBezTo>
                      <a:pt x="25241" y="234743"/>
                      <a:pt x="26755" y="228181"/>
                      <a:pt x="26755" y="194862"/>
                    </a:cubicBezTo>
                    <a:lnTo>
                      <a:pt x="26755" y="56035"/>
                    </a:lnTo>
                    <a:cubicBezTo>
                      <a:pt x="26755" y="21707"/>
                      <a:pt x="23726" y="14640"/>
                      <a:pt x="0" y="1009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68" name="TextBox 67"/>
              <p:cNvSpPr txBox="1">
                <a:spLocks/>
              </p:cNvSpPr>
              <p:nvPr/>
            </p:nvSpPr>
            <p:spPr>
              <a:xfrm>
                <a:off x="-1501643" y="2133303"/>
                <a:ext cx="323593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23593" h="363474">
                    <a:moveTo>
                      <a:pt x="190319" y="0"/>
                    </a:moveTo>
                    <a:cubicBezTo>
                      <a:pt x="236258" y="0"/>
                      <a:pt x="260994" y="15145"/>
                      <a:pt x="277653" y="15145"/>
                    </a:cubicBezTo>
                    <a:cubicBezTo>
                      <a:pt x="291284" y="15145"/>
                      <a:pt x="299866" y="9087"/>
                      <a:pt x="310467" y="0"/>
                    </a:cubicBezTo>
                    <a:lnTo>
                      <a:pt x="314001" y="120149"/>
                    </a:lnTo>
                    <a:lnTo>
                      <a:pt x="312991" y="120149"/>
                    </a:lnTo>
                    <a:cubicBezTo>
                      <a:pt x="287750" y="56541"/>
                      <a:pt x="250393" y="11107"/>
                      <a:pt x="199910" y="11107"/>
                    </a:cubicBezTo>
                    <a:cubicBezTo>
                      <a:pt x="137312" y="11107"/>
                      <a:pt x="101974" y="80268"/>
                      <a:pt x="101974" y="164573"/>
                    </a:cubicBezTo>
                    <a:cubicBezTo>
                      <a:pt x="101974" y="260490"/>
                      <a:pt x="155486" y="315011"/>
                      <a:pt x="221113" y="315011"/>
                    </a:cubicBezTo>
                    <a:cubicBezTo>
                      <a:pt x="263014" y="315011"/>
                      <a:pt x="297846" y="300371"/>
                      <a:pt x="320564" y="252918"/>
                    </a:cubicBezTo>
                    <a:lnTo>
                      <a:pt x="323593" y="253927"/>
                    </a:lnTo>
                    <a:cubicBezTo>
                      <a:pt x="306428" y="321574"/>
                      <a:pt x="252412" y="363474"/>
                      <a:pt x="173660" y="363474"/>
                    </a:cubicBezTo>
                    <a:cubicBezTo>
                      <a:pt x="74209" y="363474"/>
                      <a:pt x="0" y="293304"/>
                      <a:pt x="0" y="186786"/>
                    </a:cubicBezTo>
                    <a:cubicBezTo>
                      <a:pt x="0" y="76229"/>
                      <a:pt x="85820" y="0"/>
                      <a:pt x="19031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69" name="TextBox 68"/>
              <p:cNvSpPr txBox="1">
                <a:spLocks/>
              </p:cNvSpPr>
              <p:nvPr/>
            </p:nvSpPr>
            <p:spPr>
              <a:xfrm>
                <a:off x="-758693" y="2133303"/>
                <a:ext cx="362969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62969" h="363474">
                    <a:moveTo>
                      <a:pt x="181737" y="0"/>
                    </a:moveTo>
                    <a:cubicBezTo>
                      <a:pt x="285731" y="0"/>
                      <a:pt x="362969" y="75724"/>
                      <a:pt x="362969" y="181737"/>
                    </a:cubicBezTo>
                    <a:cubicBezTo>
                      <a:pt x="362969" y="287751"/>
                      <a:pt x="285731" y="363474"/>
                      <a:pt x="181737" y="363474"/>
                    </a:cubicBezTo>
                    <a:cubicBezTo>
                      <a:pt x="77238" y="363474"/>
                      <a:pt x="0" y="287751"/>
                      <a:pt x="0" y="181737"/>
                    </a:cubicBezTo>
                    <a:cubicBezTo>
                      <a:pt x="0" y="75724"/>
                      <a:pt x="77238" y="0"/>
                      <a:pt x="181737" y="0"/>
                    </a:cubicBezTo>
                    <a:close/>
                    <a:moveTo>
                      <a:pt x="181737" y="10097"/>
                    </a:moveTo>
                    <a:cubicBezTo>
                      <a:pt x="123682" y="10097"/>
                      <a:pt x="103994" y="70676"/>
                      <a:pt x="103994" y="181737"/>
                    </a:cubicBezTo>
                    <a:cubicBezTo>
                      <a:pt x="103994" y="292799"/>
                      <a:pt x="123682" y="353378"/>
                      <a:pt x="181737" y="353378"/>
                    </a:cubicBezTo>
                    <a:cubicBezTo>
                      <a:pt x="239287" y="353378"/>
                      <a:pt x="258975" y="292799"/>
                      <a:pt x="258975" y="181737"/>
                    </a:cubicBezTo>
                    <a:cubicBezTo>
                      <a:pt x="258975" y="70676"/>
                      <a:pt x="239287" y="10097"/>
                      <a:pt x="181737" y="1009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70" name="TextBox 69"/>
              <p:cNvSpPr txBox="1">
                <a:spLocks/>
              </p:cNvSpPr>
              <p:nvPr/>
            </p:nvSpPr>
            <p:spPr>
              <a:xfrm>
                <a:off x="-1156286" y="2133808"/>
                <a:ext cx="373571" cy="357921"/>
              </a:xfrm>
              <a:custGeom>
                <a:avLst/>
                <a:gdLst/>
                <a:ahLst/>
                <a:cxnLst/>
                <a:rect l="l" t="t" r="r" b="b"/>
                <a:pathLst>
                  <a:path w="373571" h="357921">
                    <a:moveTo>
                      <a:pt x="17164" y="0"/>
                    </a:moveTo>
                    <a:cubicBezTo>
                      <a:pt x="24232" y="3534"/>
                      <a:pt x="35338" y="4544"/>
                      <a:pt x="52502" y="4544"/>
                    </a:cubicBezTo>
                    <a:lnTo>
                      <a:pt x="321069" y="4544"/>
                    </a:lnTo>
                    <a:cubicBezTo>
                      <a:pt x="338233" y="4544"/>
                      <a:pt x="349339" y="3534"/>
                      <a:pt x="356407" y="0"/>
                    </a:cubicBezTo>
                    <a:lnTo>
                      <a:pt x="373571" y="119644"/>
                    </a:lnTo>
                    <a:lnTo>
                      <a:pt x="372561" y="119644"/>
                    </a:lnTo>
                    <a:cubicBezTo>
                      <a:pt x="329651" y="50988"/>
                      <a:pt x="309963" y="17669"/>
                      <a:pt x="255946" y="17669"/>
                    </a:cubicBezTo>
                    <a:lnTo>
                      <a:pt x="234239" y="17669"/>
                    </a:lnTo>
                    <a:lnTo>
                      <a:pt x="234239" y="297847"/>
                    </a:lnTo>
                    <a:cubicBezTo>
                      <a:pt x="234239" y="331165"/>
                      <a:pt x="240802" y="342272"/>
                      <a:pt x="263014" y="356912"/>
                    </a:cubicBezTo>
                    <a:lnTo>
                      <a:pt x="263014" y="357921"/>
                    </a:lnTo>
                    <a:lnTo>
                      <a:pt x="110557" y="357921"/>
                    </a:lnTo>
                    <a:lnTo>
                      <a:pt x="110557" y="356912"/>
                    </a:lnTo>
                    <a:cubicBezTo>
                      <a:pt x="133274" y="342272"/>
                      <a:pt x="139332" y="331165"/>
                      <a:pt x="139332" y="297847"/>
                    </a:cubicBezTo>
                    <a:lnTo>
                      <a:pt x="139332" y="17669"/>
                    </a:lnTo>
                    <a:lnTo>
                      <a:pt x="117624" y="17669"/>
                    </a:lnTo>
                    <a:cubicBezTo>
                      <a:pt x="63608" y="17669"/>
                      <a:pt x="43920" y="50988"/>
                      <a:pt x="1010" y="119644"/>
                    </a:cubicBezTo>
                    <a:lnTo>
                      <a:pt x="0" y="119644"/>
                    </a:lnTo>
                    <a:lnTo>
                      <a:pt x="17164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71" name="TextBox 70"/>
              <p:cNvSpPr txBox="1">
                <a:spLocks/>
              </p:cNvSpPr>
              <p:nvPr/>
            </p:nvSpPr>
            <p:spPr>
              <a:xfrm>
                <a:off x="-2145704" y="2148039"/>
                <a:ext cx="130738" cy="132991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72" name="TextBox 71"/>
              <p:cNvSpPr txBox="1">
                <a:spLocks/>
              </p:cNvSpPr>
              <p:nvPr/>
            </p:nvSpPr>
            <p:spPr>
              <a:xfrm>
                <a:off x="-1995442" y="2150070"/>
                <a:ext cx="79221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73" name="TextBox 72"/>
              <p:cNvSpPr txBox="1">
                <a:spLocks/>
              </p:cNvSpPr>
              <p:nvPr/>
            </p:nvSpPr>
            <p:spPr>
              <a:xfrm>
                <a:off x="-1879880" y="2150070"/>
                <a:ext cx="106535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74" name="TextBox 73"/>
              <p:cNvSpPr txBox="1">
                <a:spLocks/>
              </p:cNvSpPr>
              <p:nvPr/>
            </p:nvSpPr>
            <p:spPr>
              <a:xfrm>
                <a:off x="-1757317" y="2150070"/>
                <a:ext cx="107896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75" name="TextBox 74"/>
              <p:cNvSpPr txBox="1">
                <a:spLocks/>
              </p:cNvSpPr>
              <p:nvPr/>
            </p:nvSpPr>
            <p:spPr>
              <a:xfrm>
                <a:off x="-1623967" y="2150070"/>
                <a:ext cx="79221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</p:grpSp>
        <p:sp>
          <p:nvSpPr>
            <p:cNvPr id="62" name="Freeform 9"/>
            <p:cNvSpPr>
              <a:spLocks noEditPoints="1"/>
            </p:cNvSpPr>
            <p:nvPr/>
          </p:nvSpPr>
          <p:spPr bwMode="auto">
            <a:xfrm>
              <a:off x="7526204" y="2289887"/>
              <a:ext cx="3108960" cy="171869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7631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5" name="Object 2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 userDrawn="1"/>
        </p:nvSpPr>
        <p:spPr>
          <a:xfrm flipH="1">
            <a:off x="-2" y="1549667"/>
            <a:ext cx="4380187" cy="5308333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chemeClr val="bg2">
                  <a:lumMod val="20000"/>
                  <a:lumOff val="80000"/>
                </a:schemeClr>
              </a:solidFill>
              <a:latin typeface="Open Sans Bold"/>
              <a:cs typeface="Open Sans Bold"/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0" y="1"/>
            <a:ext cx="12188821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Domaine Display" charset="0"/>
              <a:ea typeface="Domaine Display" charset="0"/>
              <a:cs typeface="Domaine Display" charset="0"/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-1" y="1448245"/>
            <a:ext cx="12188952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latin typeface="Open Sans Bold"/>
              <a:cs typeface="Open Sans Bold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46876" y="371026"/>
            <a:ext cx="9686100" cy="476805"/>
          </a:xfrm>
          <a:prstGeom prst="rect">
            <a:avLst/>
          </a:prstGeom>
        </p:spPr>
        <p:txBody>
          <a:bodyPr anchor="b"/>
          <a:lstStyle>
            <a:lvl1pPr algn="l">
              <a:defRPr sz="3000" b="1">
                <a:solidFill>
                  <a:schemeClr val="bg1"/>
                </a:solidFill>
                <a:latin typeface="Domaine Display Bold" panose="020A0803080505060203" pitchFamily="18" charset="0"/>
                <a:ea typeface="Domaine Display Bold" panose="020A0803080505060203" pitchFamily="18" charset="0"/>
                <a:cs typeface="Domaine Display Bold" panose="020A0803080505060203" pitchFamily="18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46877" y="860151"/>
            <a:ext cx="9686099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10361175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Group 7"/>
          <p:cNvGrpSpPr>
            <a:grpSpLocks noChangeAspect="1"/>
          </p:cNvGrpSpPr>
          <p:nvPr userDrawn="1"/>
        </p:nvGrpSpPr>
        <p:grpSpPr>
          <a:xfrm>
            <a:off x="10577133" y="371026"/>
            <a:ext cx="1417320" cy="783522"/>
            <a:chOff x="7526204" y="2289887"/>
            <a:chExt cx="3108960" cy="1718692"/>
          </a:xfrm>
        </p:grpSpPr>
        <p:grpSp>
          <p:nvGrpSpPr>
            <p:cNvPr id="9" name="Group 8"/>
            <p:cNvGrpSpPr>
              <a:grpSpLocks noChangeAspect="1"/>
            </p:cNvGrpSpPr>
            <p:nvPr/>
          </p:nvGrpSpPr>
          <p:grpSpPr>
            <a:xfrm>
              <a:off x="8070916" y="2865025"/>
              <a:ext cx="2148840" cy="827025"/>
              <a:chOff x="-2522495" y="1678245"/>
              <a:chExt cx="2126771" cy="818532"/>
            </a:xfrm>
          </p:grpSpPr>
          <p:sp>
            <p:nvSpPr>
              <p:cNvPr id="11" name="TextBox 10"/>
              <p:cNvSpPr txBox="1">
                <a:spLocks/>
              </p:cNvSpPr>
              <p:nvPr/>
            </p:nvSpPr>
            <p:spPr>
              <a:xfrm>
                <a:off x="-2130523" y="1678245"/>
                <a:ext cx="486642" cy="382152"/>
              </a:xfrm>
              <a:custGeom>
                <a:avLst/>
                <a:gdLst/>
                <a:ahLst/>
                <a:cxnLst/>
                <a:rect l="l" t="t" r="r" b="b"/>
                <a:pathLst>
                  <a:path w="486642" h="382152">
                    <a:moveTo>
                      <a:pt x="150943" y="0"/>
                    </a:moveTo>
                    <a:cubicBezTo>
                      <a:pt x="191582" y="0"/>
                      <a:pt x="224490" y="12368"/>
                      <a:pt x="232082" y="39810"/>
                    </a:cubicBezTo>
                    <a:lnTo>
                      <a:pt x="232262" y="41192"/>
                    </a:lnTo>
                    <a:lnTo>
                      <a:pt x="244394" y="27828"/>
                    </a:lnTo>
                    <a:cubicBezTo>
                      <a:pt x="265912" y="9086"/>
                      <a:pt x="296328" y="0"/>
                      <a:pt x="331918" y="0"/>
                    </a:cubicBezTo>
                    <a:cubicBezTo>
                      <a:pt x="355140" y="0"/>
                      <a:pt x="375838" y="4038"/>
                      <a:pt x="390730" y="12620"/>
                    </a:cubicBezTo>
                    <a:lnTo>
                      <a:pt x="399550" y="19037"/>
                    </a:lnTo>
                    <a:lnTo>
                      <a:pt x="415123" y="9213"/>
                    </a:lnTo>
                    <a:cubicBezTo>
                      <a:pt x="421204" y="6846"/>
                      <a:pt x="427956" y="5553"/>
                      <a:pt x="435150" y="5553"/>
                    </a:cubicBezTo>
                    <a:cubicBezTo>
                      <a:pt x="464430" y="5553"/>
                      <a:pt x="486642" y="26250"/>
                      <a:pt x="486642" y="53511"/>
                    </a:cubicBezTo>
                    <a:cubicBezTo>
                      <a:pt x="486642" y="80772"/>
                      <a:pt x="464430" y="101974"/>
                      <a:pt x="435150" y="101974"/>
                    </a:cubicBezTo>
                    <a:cubicBezTo>
                      <a:pt x="420763" y="101974"/>
                      <a:pt x="408142" y="96674"/>
                      <a:pt x="399118" y="87965"/>
                    </a:cubicBezTo>
                    <a:lnTo>
                      <a:pt x="397141" y="85099"/>
                    </a:lnTo>
                    <a:lnTo>
                      <a:pt x="387023" y="90979"/>
                    </a:lnTo>
                    <a:cubicBezTo>
                      <a:pt x="381675" y="92887"/>
                      <a:pt x="375838" y="93897"/>
                      <a:pt x="369780" y="93897"/>
                    </a:cubicBezTo>
                    <a:cubicBezTo>
                      <a:pt x="355140" y="93897"/>
                      <a:pt x="342015" y="89354"/>
                      <a:pt x="335452" y="81781"/>
                    </a:cubicBezTo>
                    <a:cubicBezTo>
                      <a:pt x="350092" y="78247"/>
                      <a:pt x="359179" y="66132"/>
                      <a:pt x="359179" y="42910"/>
                    </a:cubicBezTo>
                    <a:cubicBezTo>
                      <a:pt x="359179" y="22717"/>
                      <a:pt x="350597" y="8077"/>
                      <a:pt x="331918" y="8077"/>
                    </a:cubicBezTo>
                    <a:cubicBezTo>
                      <a:pt x="308696" y="8077"/>
                      <a:pt x="300619" y="29784"/>
                      <a:pt x="300619" y="58054"/>
                    </a:cubicBezTo>
                    <a:lnTo>
                      <a:pt x="300619" y="132264"/>
                    </a:lnTo>
                    <a:lnTo>
                      <a:pt x="363217" y="132264"/>
                    </a:lnTo>
                    <a:lnTo>
                      <a:pt x="360693" y="144884"/>
                    </a:lnTo>
                    <a:lnTo>
                      <a:pt x="300619" y="144884"/>
                    </a:lnTo>
                    <a:lnTo>
                      <a:pt x="300619" y="327126"/>
                    </a:lnTo>
                    <a:cubicBezTo>
                      <a:pt x="300619" y="360445"/>
                      <a:pt x="312230" y="369027"/>
                      <a:pt x="339490" y="381142"/>
                    </a:cubicBezTo>
                    <a:lnTo>
                      <a:pt x="339490" y="382152"/>
                    </a:lnTo>
                    <a:lnTo>
                      <a:pt x="186529" y="382152"/>
                    </a:lnTo>
                    <a:lnTo>
                      <a:pt x="186529" y="381142"/>
                    </a:lnTo>
                    <a:cubicBezTo>
                      <a:pt x="208741" y="367007"/>
                      <a:pt x="210255" y="360445"/>
                      <a:pt x="210255" y="327126"/>
                    </a:cubicBezTo>
                    <a:lnTo>
                      <a:pt x="210255" y="144884"/>
                    </a:lnTo>
                    <a:lnTo>
                      <a:pt x="180976" y="144884"/>
                    </a:lnTo>
                    <a:lnTo>
                      <a:pt x="180976" y="139331"/>
                    </a:lnTo>
                    <a:lnTo>
                      <a:pt x="210255" y="128225"/>
                    </a:lnTo>
                    <a:lnTo>
                      <a:pt x="210255" y="113585"/>
                    </a:lnTo>
                    <a:lnTo>
                      <a:pt x="212504" y="87227"/>
                    </a:lnTo>
                    <a:lnTo>
                      <a:pt x="206048" y="90979"/>
                    </a:lnTo>
                    <a:cubicBezTo>
                      <a:pt x="200700" y="92887"/>
                      <a:pt x="194863" y="93897"/>
                      <a:pt x="188805" y="93897"/>
                    </a:cubicBezTo>
                    <a:cubicBezTo>
                      <a:pt x="174165" y="93897"/>
                      <a:pt x="161040" y="89354"/>
                      <a:pt x="154477" y="81781"/>
                    </a:cubicBezTo>
                    <a:cubicBezTo>
                      <a:pt x="169117" y="78247"/>
                      <a:pt x="178204" y="66132"/>
                      <a:pt x="178204" y="42910"/>
                    </a:cubicBezTo>
                    <a:cubicBezTo>
                      <a:pt x="178204" y="22717"/>
                      <a:pt x="169622" y="8077"/>
                      <a:pt x="150943" y="8077"/>
                    </a:cubicBezTo>
                    <a:cubicBezTo>
                      <a:pt x="127721" y="8077"/>
                      <a:pt x="119644" y="29784"/>
                      <a:pt x="119644" y="58054"/>
                    </a:cubicBezTo>
                    <a:lnTo>
                      <a:pt x="119644" y="132264"/>
                    </a:lnTo>
                    <a:lnTo>
                      <a:pt x="182242" y="132264"/>
                    </a:lnTo>
                    <a:lnTo>
                      <a:pt x="179718" y="144884"/>
                    </a:lnTo>
                    <a:lnTo>
                      <a:pt x="119644" y="144884"/>
                    </a:lnTo>
                    <a:lnTo>
                      <a:pt x="119644" y="327126"/>
                    </a:lnTo>
                    <a:cubicBezTo>
                      <a:pt x="119644" y="360445"/>
                      <a:pt x="131255" y="369027"/>
                      <a:pt x="158516" y="381142"/>
                    </a:cubicBezTo>
                    <a:lnTo>
                      <a:pt x="158516" y="382152"/>
                    </a:lnTo>
                    <a:lnTo>
                      <a:pt x="5554" y="382152"/>
                    </a:lnTo>
                    <a:lnTo>
                      <a:pt x="5554" y="381142"/>
                    </a:lnTo>
                    <a:cubicBezTo>
                      <a:pt x="27766" y="367007"/>
                      <a:pt x="29280" y="360445"/>
                      <a:pt x="29280" y="327126"/>
                    </a:cubicBezTo>
                    <a:lnTo>
                      <a:pt x="29280" y="144884"/>
                    </a:lnTo>
                    <a:lnTo>
                      <a:pt x="0" y="144884"/>
                    </a:lnTo>
                    <a:lnTo>
                      <a:pt x="0" y="139331"/>
                    </a:lnTo>
                    <a:lnTo>
                      <a:pt x="29280" y="128225"/>
                    </a:lnTo>
                    <a:lnTo>
                      <a:pt x="29280" y="113585"/>
                    </a:lnTo>
                    <a:cubicBezTo>
                      <a:pt x="29280" y="36347"/>
                      <a:pt x="79763" y="0"/>
                      <a:pt x="15094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12" name="TextBox 11"/>
              <p:cNvSpPr txBox="1">
                <a:spLocks/>
              </p:cNvSpPr>
              <p:nvPr/>
            </p:nvSpPr>
            <p:spPr>
              <a:xfrm>
                <a:off x="-2522495" y="1701971"/>
                <a:ext cx="362969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62969" h="363474">
                    <a:moveTo>
                      <a:pt x="181737" y="0"/>
                    </a:moveTo>
                    <a:cubicBezTo>
                      <a:pt x="285731" y="0"/>
                      <a:pt x="362969" y="75724"/>
                      <a:pt x="362969" y="181737"/>
                    </a:cubicBezTo>
                    <a:cubicBezTo>
                      <a:pt x="362969" y="287751"/>
                      <a:pt x="285731" y="363474"/>
                      <a:pt x="181737" y="363474"/>
                    </a:cubicBezTo>
                    <a:cubicBezTo>
                      <a:pt x="77238" y="363474"/>
                      <a:pt x="0" y="287751"/>
                      <a:pt x="0" y="181737"/>
                    </a:cubicBezTo>
                    <a:cubicBezTo>
                      <a:pt x="0" y="75724"/>
                      <a:pt x="77238" y="0"/>
                      <a:pt x="181737" y="0"/>
                    </a:cubicBezTo>
                    <a:close/>
                    <a:moveTo>
                      <a:pt x="181737" y="10097"/>
                    </a:moveTo>
                    <a:cubicBezTo>
                      <a:pt x="123682" y="10097"/>
                      <a:pt x="103994" y="70676"/>
                      <a:pt x="103994" y="181737"/>
                    </a:cubicBezTo>
                    <a:cubicBezTo>
                      <a:pt x="103994" y="292799"/>
                      <a:pt x="123682" y="353378"/>
                      <a:pt x="181737" y="353378"/>
                    </a:cubicBezTo>
                    <a:cubicBezTo>
                      <a:pt x="239287" y="353378"/>
                      <a:pt x="258975" y="292799"/>
                      <a:pt x="258975" y="181737"/>
                    </a:cubicBezTo>
                    <a:cubicBezTo>
                      <a:pt x="258975" y="70676"/>
                      <a:pt x="239287" y="10097"/>
                      <a:pt x="181737" y="1009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13" name="TextBox 12"/>
              <p:cNvSpPr txBox="1">
                <a:spLocks/>
              </p:cNvSpPr>
              <p:nvPr/>
            </p:nvSpPr>
            <p:spPr>
              <a:xfrm>
                <a:off x="-1602104" y="1805461"/>
                <a:ext cx="245345" cy="259984"/>
              </a:xfrm>
              <a:custGeom>
                <a:avLst/>
                <a:gdLst/>
                <a:ahLst/>
                <a:cxnLst/>
                <a:rect l="l" t="t" r="r" b="b"/>
                <a:pathLst>
                  <a:path w="245345" h="259984">
                    <a:moveTo>
                      <a:pt x="144885" y="0"/>
                    </a:moveTo>
                    <a:cubicBezTo>
                      <a:pt x="199406" y="0"/>
                      <a:pt x="240297" y="23726"/>
                      <a:pt x="240297" y="65122"/>
                    </a:cubicBezTo>
                    <a:cubicBezTo>
                      <a:pt x="240297" y="95411"/>
                      <a:pt x="217075" y="111061"/>
                      <a:pt x="192843" y="111061"/>
                    </a:cubicBezTo>
                    <a:cubicBezTo>
                      <a:pt x="166087" y="111061"/>
                      <a:pt x="150438" y="96421"/>
                      <a:pt x="148923" y="81781"/>
                    </a:cubicBezTo>
                    <a:cubicBezTo>
                      <a:pt x="151952" y="82791"/>
                      <a:pt x="155486" y="83296"/>
                      <a:pt x="158010" y="83296"/>
                    </a:cubicBezTo>
                    <a:cubicBezTo>
                      <a:pt x="176689" y="83296"/>
                      <a:pt x="184261" y="67646"/>
                      <a:pt x="184261" y="48463"/>
                    </a:cubicBezTo>
                    <a:cubicBezTo>
                      <a:pt x="184261" y="24231"/>
                      <a:pt x="171136" y="8582"/>
                      <a:pt x="145894" y="8582"/>
                    </a:cubicBezTo>
                    <a:cubicBezTo>
                      <a:pt x="110557" y="8582"/>
                      <a:pt x="93897" y="54016"/>
                      <a:pt x="93897" y="112575"/>
                    </a:cubicBezTo>
                    <a:cubicBezTo>
                      <a:pt x="93897" y="181737"/>
                      <a:pt x="124692" y="218589"/>
                      <a:pt x="171640" y="218589"/>
                    </a:cubicBezTo>
                    <a:cubicBezTo>
                      <a:pt x="200415" y="218589"/>
                      <a:pt x="226666" y="204958"/>
                      <a:pt x="242316" y="173659"/>
                    </a:cubicBezTo>
                    <a:lnTo>
                      <a:pt x="245345" y="175174"/>
                    </a:lnTo>
                    <a:cubicBezTo>
                      <a:pt x="231210" y="229190"/>
                      <a:pt x="185775" y="259984"/>
                      <a:pt x="129740" y="259984"/>
                    </a:cubicBezTo>
                    <a:cubicBezTo>
                      <a:pt x="60074" y="259984"/>
                      <a:pt x="0" y="213036"/>
                      <a:pt x="0" y="134788"/>
                    </a:cubicBezTo>
                    <a:cubicBezTo>
                      <a:pt x="0" y="49977"/>
                      <a:pt x="63608" y="0"/>
                      <a:pt x="144885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14" name="TextBox 13"/>
              <p:cNvSpPr txBox="1">
                <a:spLocks/>
              </p:cNvSpPr>
              <p:nvPr/>
            </p:nvSpPr>
            <p:spPr>
              <a:xfrm>
                <a:off x="-1335404" y="1805461"/>
                <a:ext cx="251908" cy="259984"/>
              </a:xfrm>
              <a:custGeom>
                <a:avLst/>
                <a:gdLst/>
                <a:ahLst/>
                <a:cxnLst/>
                <a:rect l="l" t="t" r="r" b="b"/>
                <a:pathLst>
                  <a:path w="251908" h="259984">
                    <a:moveTo>
                      <a:pt x="132264" y="0"/>
                    </a:moveTo>
                    <a:cubicBezTo>
                      <a:pt x="213541" y="0"/>
                      <a:pt x="251908" y="51996"/>
                      <a:pt x="251908" y="118633"/>
                    </a:cubicBezTo>
                    <a:lnTo>
                      <a:pt x="91373" y="118633"/>
                    </a:lnTo>
                    <a:cubicBezTo>
                      <a:pt x="91373" y="181232"/>
                      <a:pt x="124187" y="218589"/>
                      <a:pt x="172650" y="218589"/>
                    </a:cubicBezTo>
                    <a:cubicBezTo>
                      <a:pt x="203444" y="218589"/>
                      <a:pt x="230200" y="204958"/>
                      <a:pt x="245850" y="173659"/>
                    </a:cubicBezTo>
                    <a:lnTo>
                      <a:pt x="249383" y="175174"/>
                    </a:lnTo>
                    <a:cubicBezTo>
                      <a:pt x="234744" y="229190"/>
                      <a:pt x="189309" y="259984"/>
                      <a:pt x="131759" y="259984"/>
                    </a:cubicBezTo>
                    <a:cubicBezTo>
                      <a:pt x="59569" y="259984"/>
                      <a:pt x="0" y="212531"/>
                      <a:pt x="0" y="130244"/>
                    </a:cubicBezTo>
                    <a:cubicBezTo>
                      <a:pt x="0" y="50987"/>
                      <a:pt x="60074" y="0"/>
                      <a:pt x="132264" y="0"/>
                    </a:cubicBezTo>
                    <a:close/>
                    <a:moveTo>
                      <a:pt x="132264" y="8582"/>
                    </a:moveTo>
                    <a:cubicBezTo>
                      <a:pt x="106013" y="8582"/>
                      <a:pt x="92888" y="48463"/>
                      <a:pt x="91878" y="108032"/>
                    </a:cubicBezTo>
                    <a:lnTo>
                      <a:pt x="165078" y="108032"/>
                    </a:lnTo>
                    <a:cubicBezTo>
                      <a:pt x="165078" y="51492"/>
                      <a:pt x="161039" y="8582"/>
                      <a:pt x="132264" y="858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15" name="TextBox 14"/>
              <p:cNvSpPr txBox="1">
                <a:spLocks/>
              </p:cNvSpPr>
              <p:nvPr/>
            </p:nvSpPr>
            <p:spPr>
              <a:xfrm>
                <a:off x="-1766048" y="1810509"/>
                <a:ext cx="140846" cy="249888"/>
              </a:xfrm>
              <a:custGeom>
                <a:avLst/>
                <a:gdLst/>
                <a:ahLst/>
                <a:cxnLst/>
                <a:rect l="l" t="t" r="r" b="b"/>
                <a:pathLst>
                  <a:path w="140846" h="249888">
                    <a:moveTo>
                      <a:pt x="0" y="0"/>
                    </a:moveTo>
                    <a:lnTo>
                      <a:pt x="117119" y="0"/>
                    </a:lnTo>
                    <a:lnTo>
                      <a:pt x="117119" y="194862"/>
                    </a:lnTo>
                    <a:cubicBezTo>
                      <a:pt x="117119" y="228181"/>
                      <a:pt x="118633" y="234743"/>
                      <a:pt x="140846" y="248878"/>
                    </a:cubicBezTo>
                    <a:lnTo>
                      <a:pt x="140846" y="249888"/>
                    </a:lnTo>
                    <a:lnTo>
                      <a:pt x="3029" y="249888"/>
                    </a:lnTo>
                    <a:lnTo>
                      <a:pt x="3029" y="248878"/>
                    </a:lnTo>
                    <a:cubicBezTo>
                      <a:pt x="25241" y="234743"/>
                      <a:pt x="26755" y="228181"/>
                      <a:pt x="26755" y="194862"/>
                    </a:cubicBezTo>
                    <a:lnTo>
                      <a:pt x="26755" y="56035"/>
                    </a:lnTo>
                    <a:cubicBezTo>
                      <a:pt x="26755" y="21707"/>
                      <a:pt x="23726" y="14640"/>
                      <a:pt x="0" y="1009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16" name="TextBox 15"/>
              <p:cNvSpPr txBox="1">
                <a:spLocks/>
              </p:cNvSpPr>
              <p:nvPr/>
            </p:nvSpPr>
            <p:spPr>
              <a:xfrm>
                <a:off x="-1501643" y="2133303"/>
                <a:ext cx="323593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23593" h="363474">
                    <a:moveTo>
                      <a:pt x="190319" y="0"/>
                    </a:moveTo>
                    <a:cubicBezTo>
                      <a:pt x="236258" y="0"/>
                      <a:pt x="260994" y="15145"/>
                      <a:pt x="277653" y="15145"/>
                    </a:cubicBezTo>
                    <a:cubicBezTo>
                      <a:pt x="291284" y="15145"/>
                      <a:pt x="299866" y="9087"/>
                      <a:pt x="310467" y="0"/>
                    </a:cubicBezTo>
                    <a:lnTo>
                      <a:pt x="314001" y="120149"/>
                    </a:lnTo>
                    <a:lnTo>
                      <a:pt x="312991" y="120149"/>
                    </a:lnTo>
                    <a:cubicBezTo>
                      <a:pt x="287750" y="56541"/>
                      <a:pt x="250393" y="11107"/>
                      <a:pt x="199910" y="11107"/>
                    </a:cubicBezTo>
                    <a:cubicBezTo>
                      <a:pt x="137312" y="11107"/>
                      <a:pt x="101974" y="80268"/>
                      <a:pt x="101974" y="164573"/>
                    </a:cubicBezTo>
                    <a:cubicBezTo>
                      <a:pt x="101974" y="260490"/>
                      <a:pt x="155486" y="315011"/>
                      <a:pt x="221113" y="315011"/>
                    </a:cubicBezTo>
                    <a:cubicBezTo>
                      <a:pt x="263014" y="315011"/>
                      <a:pt x="297846" y="300371"/>
                      <a:pt x="320564" y="252918"/>
                    </a:cubicBezTo>
                    <a:lnTo>
                      <a:pt x="323593" y="253927"/>
                    </a:lnTo>
                    <a:cubicBezTo>
                      <a:pt x="306428" y="321574"/>
                      <a:pt x="252412" y="363474"/>
                      <a:pt x="173660" y="363474"/>
                    </a:cubicBezTo>
                    <a:cubicBezTo>
                      <a:pt x="74209" y="363474"/>
                      <a:pt x="0" y="293304"/>
                      <a:pt x="0" y="186786"/>
                    </a:cubicBezTo>
                    <a:cubicBezTo>
                      <a:pt x="0" y="76229"/>
                      <a:pt x="85820" y="0"/>
                      <a:pt x="19031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17" name="TextBox 16"/>
              <p:cNvSpPr txBox="1">
                <a:spLocks/>
              </p:cNvSpPr>
              <p:nvPr/>
            </p:nvSpPr>
            <p:spPr>
              <a:xfrm>
                <a:off x="-758693" y="2133303"/>
                <a:ext cx="362969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62969" h="363474">
                    <a:moveTo>
                      <a:pt x="181737" y="0"/>
                    </a:moveTo>
                    <a:cubicBezTo>
                      <a:pt x="285731" y="0"/>
                      <a:pt x="362969" y="75724"/>
                      <a:pt x="362969" y="181737"/>
                    </a:cubicBezTo>
                    <a:cubicBezTo>
                      <a:pt x="362969" y="287751"/>
                      <a:pt x="285731" y="363474"/>
                      <a:pt x="181737" y="363474"/>
                    </a:cubicBezTo>
                    <a:cubicBezTo>
                      <a:pt x="77238" y="363474"/>
                      <a:pt x="0" y="287751"/>
                      <a:pt x="0" y="181737"/>
                    </a:cubicBezTo>
                    <a:cubicBezTo>
                      <a:pt x="0" y="75724"/>
                      <a:pt x="77238" y="0"/>
                      <a:pt x="181737" y="0"/>
                    </a:cubicBezTo>
                    <a:close/>
                    <a:moveTo>
                      <a:pt x="181737" y="10097"/>
                    </a:moveTo>
                    <a:cubicBezTo>
                      <a:pt x="123682" y="10097"/>
                      <a:pt x="103994" y="70676"/>
                      <a:pt x="103994" y="181737"/>
                    </a:cubicBezTo>
                    <a:cubicBezTo>
                      <a:pt x="103994" y="292799"/>
                      <a:pt x="123682" y="353378"/>
                      <a:pt x="181737" y="353378"/>
                    </a:cubicBezTo>
                    <a:cubicBezTo>
                      <a:pt x="239287" y="353378"/>
                      <a:pt x="258975" y="292799"/>
                      <a:pt x="258975" y="181737"/>
                    </a:cubicBezTo>
                    <a:cubicBezTo>
                      <a:pt x="258975" y="70676"/>
                      <a:pt x="239287" y="10097"/>
                      <a:pt x="181737" y="1009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18" name="TextBox 17"/>
              <p:cNvSpPr txBox="1">
                <a:spLocks/>
              </p:cNvSpPr>
              <p:nvPr/>
            </p:nvSpPr>
            <p:spPr>
              <a:xfrm>
                <a:off x="-1156286" y="2133808"/>
                <a:ext cx="373571" cy="357921"/>
              </a:xfrm>
              <a:custGeom>
                <a:avLst/>
                <a:gdLst/>
                <a:ahLst/>
                <a:cxnLst/>
                <a:rect l="l" t="t" r="r" b="b"/>
                <a:pathLst>
                  <a:path w="373571" h="357921">
                    <a:moveTo>
                      <a:pt x="17164" y="0"/>
                    </a:moveTo>
                    <a:cubicBezTo>
                      <a:pt x="24232" y="3534"/>
                      <a:pt x="35338" y="4544"/>
                      <a:pt x="52502" y="4544"/>
                    </a:cubicBezTo>
                    <a:lnTo>
                      <a:pt x="321069" y="4544"/>
                    </a:lnTo>
                    <a:cubicBezTo>
                      <a:pt x="338233" y="4544"/>
                      <a:pt x="349339" y="3534"/>
                      <a:pt x="356407" y="0"/>
                    </a:cubicBezTo>
                    <a:lnTo>
                      <a:pt x="373571" y="119644"/>
                    </a:lnTo>
                    <a:lnTo>
                      <a:pt x="372561" y="119644"/>
                    </a:lnTo>
                    <a:cubicBezTo>
                      <a:pt x="329651" y="50988"/>
                      <a:pt x="309963" y="17669"/>
                      <a:pt x="255946" y="17669"/>
                    </a:cubicBezTo>
                    <a:lnTo>
                      <a:pt x="234239" y="17669"/>
                    </a:lnTo>
                    <a:lnTo>
                      <a:pt x="234239" y="297847"/>
                    </a:lnTo>
                    <a:cubicBezTo>
                      <a:pt x="234239" y="331165"/>
                      <a:pt x="240802" y="342272"/>
                      <a:pt x="263014" y="356912"/>
                    </a:cubicBezTo>
                    <a:lnTo>
                      <a:pt x="263014" y="357921"/>
                    </a:lnTo>
                    <a:lnTo>
                      <a:pt x="110557" y="357921"/>
                    </a:lnTo>
                    <a:lnTo>
                      <a:pt x="110557" y="356912"/>
                    </a:lnTo>
                    <a:cubicBezTo>
                      <a:pt x="133274" y="342272"/>
                      <a:pt x="139332" y="331165"/>
                      <a:pt x="139332" y="297847"/>
                    </a:cubicBezTo>
                    <a:lnTo>
                      <a:pt x="139332" y="17669"/>
                    </a:lnTo>
                    <a:lnTo>
                      <a:pt x="117624" y="17669"/>
                    </a:lnTo>
                    <a:cubicBezTo>
                      <a:pt x="63608" y="17669"/>
                      <a:pt x="43920" y="50988"/>
                      <a:pt x="1010" y="119644"/>
                    </a:cubicBezTo>
                    <a:lnTo>
                      <a:pt x="0" y="119644"/>
                    </a:lnTo>
                    <a:lnTo>
                      <a:pt x="17164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19" name="TextBox 18"/>
              <p:cNvSpPr txBox="1">
                <a:spLocks/>
              </p:cNvSpPr>
              <p:nvPr/>
            </p:nvSpPr>
            <p:spPr>
              <a:xfrm>
                <a:off x="-2145704" y="2148039"/>
                <a:ext cx="130738" cy="132991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20" name="TextBox 19"/>
              <p:cNvSpPr txBox="1">
                <a:spLocks/>
              </p:cNvSpPr>
              <p:nvPr/>
            </p:nvSpPr>
            <p:spPr>
              <a:xfrm>
                <a:off x="-1995442" y="2150070"/>
                <a:ext cx="79221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21" name="TextBox 20"/>
              <p:cNvSpPr txBox="1">
                <a:spLocks/>
              </p:cNvSpPr>
              <p:nvPr/>
            </p:nvSpPr>
            <p:spPr>
              <a:xfrm>
                <a:off x="-1879880" y="2150070"/>
                <a:ext cx="106535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22" name="TextBox 21"/>
              <p:cNvSpPr txBox="1">
                <a:spLocks/>
              </p:cNvSpPr>
              <p:nvPr/>
            </p:nvSpPr>
            <p:spPr>
              <a:xfrm>
                <a:off x="-1757317" y="2150070"/>
                <a:ext cx="107896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23" name="TextBox 22"/>
              <p:cNvSpPr txBox="1">
                <a:spLocks/>
              </p:cNvSpPr>
              <p:nvPr/>
            </p:nvSpPr>
            <p:spPr>
              <a:xfrm>
                <a:off x="-1623967" y="2150070"/>
                <a:ext cx="79221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</p:grpSp>
        <p:sp>
          <p:nvSpPr>
            <p:cNvPr id="10" name="Freeform 9"/>
            <p:cNvSpPr>
              <a:spLocks noEditPoints="1"/>
            </p:cNvSpPr>
            <p:nvPr/>
          </p:nvSpPr>
          <p:spPr bwMode="auto">
            <a:xfrm>
              <a:off x="7526204" y="2289887"/>
              <a:ext cx="3108960" cy="171869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4" name="Content Placeholder 8"/>
          <p:cNvSpPr txBox="1">
            <a:spLocks/>
          </p:cNvSpPr>
          <p:nvPr userDrawn="1"/>
        </p:nvSpPr>
        <p:spPr>
          <a:xfrm>
            <a:off x="547779" y="6418626"/>
            <a:ext cx="2383124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dirty="0">
                <a:solidFill>
                  <a:schemeClr val="tx2">
                    <a:lumMod val="40000"/>
                    <a:lumOff val="60000"/>
                  </a:schemeClr>
                </a:solidFill>
              </a:rPr>
              <a:t>©2018 Aetna Inc.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/>
          <p:cNvSpPr/>
          <p:nvPr userDrawn="1"/>
        </p:nvSpPr>
        <p:spPr>
          <a:xfrm>
            <a:off x="-1" y="1554480"/>
            <a:ext cx="2743200" cy="530351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wrap="square" lIns="365760" tIns="91440" rIns="365760" bIns="182880" anchor="ctr">
            <a:noAutofit/>
          </a:bodyPr>
          <a:lstStyle/>
          <a:p>
            <a:endParaRPr lang="en-US" sz="700" dirty="0">
              <a:solidFill>
                <a:schemeClr val="bg1"/>
              </a:solidFill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0" y="1"/>
            <a:ext cx="12188821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Domaine Display" charset="0"/>
              <a:ea typeface="Domaine Display" charset="0"/>
              <a:cs typeface="Domaine Display" charset="0"/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-1" y="1448245"/>
            <a:ext cx="12188952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latin typeface="Open Sans Bold"/>
              <a:cs typeface="Open Sans Bold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46876" y="371026"/>
            <a:ext cx="9686100" cy="476805"/>
          </a:xfrm>
          <a:prstGeom prst="rect">
            <a:avLst/>
          </a:prstGeom>
        </p:spPr>
        <p:txBody>
          <a:bodyPr anchor="b"/>
          <a:lstStyle>
            <a:lvl1pPr algn="l">
              <a:defRPr sz="3000" b="1">
                <a:solidFill>
                  <a:schemeClr val="bg1"/>
                </a:solidFill>
                <a:latin typeface="Domaine Display Bold" panose="020A0803080505060203" pitchFamily="18" charset="0"/>
                <a:ea typeface="Domaine Display Bold" panose="020A0803080505060203" pitchFamily="18" charset="0"/>
                <a:cs typeface="Domaine Display Bold" panose="020A0803080505060203" pitchFamily="18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46877" y="860151"/>
            <a:ext cx="9686099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10361175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Group 7"/>
          <p:cNvGrpSpPr>
            <a:grpSpLocks noChangeAspect="1"/>
          </p:cNvGrpSpPr>
          <p:nvPr userDrawn="1"/>
        </p:nvGrpSpPr>
        <p:grpSpPr>
          <a:xfrm>
            <a:off x="10577133" y="371026"/>
            <a:ext cx="1417320" cy="783522"/>
            <a:chOff x="7526204" y="2289887"/>
            <a:chExt cx="3108960" cy="1718692"/>
          </a:xfrm>
        </p:grpSpPr>
        <p:grpSp>
          <p:nvGrpSpPr>
            <p:cNvPr id="9" name="Group 8"/>
            <p:cNvGrpSpPr>
              <a:grpSpLocks noChangeAspect="1"/>
            </p:cNvGrpSpPr>
            <p:nvPr/>
          </p:nvGrpSpPr>
          <p:grpSpPr>
            <a:xfrm>
              <a:off x="8070916" y="2865025"/>
              <a:ext cx="2148840" cy="827025"/>
              <a:chOff x="-2522495" y="1678245"/>
              <a:chExt cx="2126771" cy="818532"/>
            </a:xfrm>
          </p:grpSpPr>
          <p:sp>
            <p:nvSpPr>
              <p:cNvPr id="11" name="TextBox 10"/>
              <p:cNvSpPr txBox="1">
                <a:spLocks/>
              </p:cNvSpPr>
              <p:nvPr/>
            </p:nvSpPr>
            <p:spPr>
              <a:xfrm>
                <a:off x="-2130523" y="1678245"/>
                <a:ext cx="486642" cy="382152"/>
              </a:xfrm>
              <a:custGeom>
                <a:avLst/>
                <a:gdLst/>
                <a:ahLst/>
                <a:cxnLst/>
                <a:rect l="l" t="t" r="r" b="b"/>
                <a:pathLst>
                  <a:path w="486642" h="382152">
                    <a:moveTo>
                      <a:pt x="150943" y="0"/>
                    </a:moveTo>
                    <a:cubicBezTo>
                      <a:pt x="191582" y="0"/>
                      <a:pt x="224490" y="12368"/>
                      <a:pt x="232082" y="39810"/>
                    </a:cubicBezTo>
                    <a:lnTo>
                      <a:pt x="232262" y="41192"/>
                    </a:lnTo>
                    <a:lnTo>
                      <a:pt x="244394" y="27828"/>
                    </a:lnTo>
                    <a:cubicBezTo>
                      <a:pt x="265912" y="9086"/>
                      <a:pt x="296328" y="0"/>
                      <a:pt x="331918" y="0"/>
                    </a:cubicBezTo>
                    <a:cubicBezTo>
                      <a:pt x="355140" y="0"/>
                      <a:pt x="375838" y="4038"/>
                      <a:pt x="390730" y="12620"/>
                    </a:cubicBezTo>
                    <a:lnTo>
                      <a:pt x="399550" y="19037"/>
                    </a:lnTo>
                    <a:lnTo>
                      <a:pt x="415123" y="9213"/>
                    </a:lnTo>
                    <a:cubicBezTo>
                      <a:pt x="421204" y="6846"/>
                      <a:pt x="427956" y="5553"/>
                      <a:pt x="435150" y="5553"/>
                    </a:cubicBezTo>
                    <a:cubicBezTo>
                      <a:pt x="464430" y="5553"/>
                      <a:pt x="486642" y="26250"/>
                      <a:pt x="486642" y="53511"/>
                    </a:cubicBezTo>
                    <a:cubicBezTo>
                      <a:pt x="486642" y="80772"/>
                      <a:pt x="464430" y="101974"/>
                      <a:pt x="435150" y="101974"/>
                    </a:cubicBezTo>
                    <a:cubicBezTo>
                      <a:pt x="420763" y="101974"/>
                      <a:pt x="408142" y="96674"/>
                      <a:pt x="399118" y="87965"/>
                    </a:cubicBezTo>
                    <a:lnTo>
                      <a:pt x="397141" y="85099"/>
                    </a:lnTo>
                    <a:lnTo>
                      <a:pt x="387023" y="90979"/>
                    </a:lnTo>
                    <a:cubicBezTo>
                      <a:pt x="381675" y="92887"/>
                      <a:pt x="375838" y="93897"/>
                      <a:pt x="369780" y="93897"/>
                    </a:cubicBezTo>
                    <a:cubicBezTo>
                      <a:pt x="355140" y="93897"/>
                      <a:pt x="342015" y="89354"/>
                      <a:pt x="335452" y="81781"/>
                    </a:cubicBezTo>
                    <a:cubicBezTo>
                      <a:pt x="350092" y="78247"/>
                      <a:pt x="359179" y="66132"/>
                      <a:pt x="359179" y="42910"/>
                    </a:cubicBezTo>
                    <a:cubicBezTo>
                      <a:pt x="359179" y="22717"/>
                      <a:pt x="350597" y="8077"/>
                      <a:pt x="331918" y="8077"/>
                    </a:cubicBezTo>
                    <a:cubicBezTo>
                      <a:pt x="308696" y="8077"/>
                      <a:pt x="300619" y="29784"/>
                      <a:pt x="300619" y="58054"/>
                    </a:cubicBezTo>
                    <a:lnTo>
                      <a:pt x="300619" y="132264"/>
                    </a:lnTo>
                    <a:lnTo>
                      <a:pt x="363217" y="132264"/>
                    </a:lnTo>
                    <a:lnTo>
                      <a:pt x="360693" y="144884"/>
                    </a:lnTo>
                    <a:lnTo>
                      <a:pt x="300619" y="144884"/>
                    </a:lnTo>
                    <a:lnTo>
                      <a:pt x="300619" y="327126"/>
                    </a:lnTo>
                    <a:cubicBezTo>
                      <a:pt x="300619" y="360445"/>
                      <a:pt x="312230" y="369027"/>
                      <a:pt x="339490" y="381142"/>
                    </a:cubicBezTo>
                    <a:lnTo>
                      <a:pt x="339490" y="382152"/>
                    </a:lnTo>
                    <a:lnTo>
                      <a:pt x="186529" y="382152"/>
                    </a:lnTo>
                    <a:lnTo>
                      <a:pt x="186529" y="381142"/>
                    </a:lnTo>
                    <a:cubicBezTo>
                      <a:pt x="208741" y="367007"/>
                      <a:pt x="210255" y="360445"/>
                      <a:pt x="210255" y="327126"/>
                    </a:cubicBezTo>
                    <a:lnTo>
                      <a:pt x="210255" y="144884"/>
                    </a:lnTo>
                    <a:lnTo>
                      <a:pt x="180976" y="144884"/>
                    </a:lnTo>
                    <a:lnTo>
                      <a:pt x="180976" y="139331"/>
                    </a:lnTo>
                    <a:lnTo>
                      <a:pt x="210255" y="128225"/>
                    </a:lnTo>
                    <a:lnTo>
                      <a:pt x="210255" y="113585"/>
                    </a:lnTo>
                    <a:lnTo>
                      <a:pt x="212504" y="87227"/>
                    </a:lnTo>
                    <a:lnTo>
                      <a:pt x="206048" y="90979"/>
                    </a:lnTo>
                    <a:cubicBezTo>
                      <a:pt x="200700" y="92887"/>
                      <a:pt x="194863" y="93897"/>
                      <a:pt x="188805" y="93897"/>
                    </a:cubicBezTo>
                    <a:cubicBezTo>
                      <a:pt x="174165" y="93897"/>
                      <a:pt x="161040" y="89354"/>
                      <a:pt x="154477" y="81781"/>
                    </a:cubicBezTo>
                    <a:cubicBezTo>
                      <a:pt x="169117" y="78247"/>
                      <a:pt x="178204" y="66132"/>
                      <a:pt x="178204" y="42910"/>
                    </a:cubicBezTo>
                    <a:cubicBezTo>
                      <a:pt x="178204" y="22717"/>
                      <a:pt x="169622" y="8077"/>
                      <a:pt x="150943" y="8077"/>
                    </a:cubicBezTo>
                    <a:cubicBezTo>
                      <a:pt x="127721" y="8077"/>
                      <a:pt x="119644" y="29784"/>
                      <a:pt x="119644" y="58054"/>
                    </a:cubicBezTo>
                    <a:lnTo>
                      <a:pt x="119644" y="132264"/>
                    </a:lnTo>
                    <a:lnTo>
                      <a:pt x="182242" y="132264"/>
                    </a:lnTo>
                    <a:lnTo>
                      <a:pt x="179718" y="144884"/>
                    </a:lnTo>
                    <a:lnTo>
                      <a:pt x="119644" y="144884"/>
                    </a:lnTo>
                    <a:lnTo>
                      <a:pt x="119644" y="327126"/>
                    </a:lnTo>
                    <a:cubicBezTo>
                      <a:pt x="119644" y="360445"/>
                      <a:pt x="131255" y="369027"/>
                      <a:pt x="158516" y="381142"/>
                    </a:cubicBezTo>
                    <a:lnTo>
                      <a:pt x="158516" y="382152"/>
                    </a:lnTo>
                    <a:lnTo>
                      <a:pt x="5554" y="382152"/>
                    </a:lnTo>
                    <a:lnTo>
                      <a:pt x="5554" y="381142"/>
                    </a:lnTo>
                    <a:cubicBezTo>
                      <a:pt x="27766" y="367007"/>
                      <a:pt x="29280" y="360445"/>
                      <a:pt x="29280" y="327126"/>
                    </a:cubicBezTo>
                    <a:lnTo>
                      <a:pt x="29280" y="144884"/>
                    </a:lnTo>
                    <a:lnTo>
                      <a:pt x="0" y="144884"/>
                    </a:lnTo>
                    <a:lnTo>
                      <a:pt x="0" y="139331"/>
                    </a:lnTo>
                    <a:lnTo>
                      <a:pt x="29280" y="128225"/>
                    </a:lnTo>
                    <a:lnTo>
                      <a:pt x="29280" y="113585"/>
                    </a:lnTo>
                    <a:cubicBezTo>
                      <a:pt x="29280" y="36347"/>
                      <a:pt x="79763" y="0"/>
                      <a:pt x="15094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12" name="TextBox 11"/>
              <p:cNvSpPr txBox="1">
                <a:spLocks/>
              </p:cNvSpPr>
              <p:nvPr/>
            </p:nvSpPr>
            <p:spPr>
              <a:xfrm>
                <a:off x="-2522495" y="1701971"/>
                <a:ext cx="362969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62969" h="363474">
                    <a:moveTo>
                      <a:pt x="181737" y="0"/>
                    </a:moveTo>
                    <a:cubicBezTo>
                      <a:pt x="285731" y="0"/>
                      <a:pt x="362969" y="75724"/>
                      <a:pt x="362969" y="181737"/>
                    </a:cubicBezTo>
                    <a:cubicBezTo>
                      <a:pt x="362969" y="287751"/>
                      <a:pt x="285731" y="363474"/>
                      <a:pt x="181737" y="363474"/>
                    </a:cubicBezTo>
                    <a:cubicBezTo>
                      <a:pt x="77238" y="363474"/>
                      <a:pt x="0" y="287751"/>
                      <a:pt x="0" y="181737"/>
                    </a:cubicBezTo>
                    <a:cubicBezTo>
                      <a:pt x="0" y="75724"/>
                      <a:pt x="77238" y="0"/>
                      <a:pt x="181737" y="0"/>
                    </a:cubicBezTo>
                    <a:close/>
                    <a:moveTo>
                      <a:pt x="181737" y="10097"/>
                    </a:moveTo>
                    <a:cubicBezTo>
                      <a:pt x="123682" y="10097"/>
                      <a:pt x="103994" y="70676"/>
                      <a:pt x="103994" y="181737"/>
                    </a:cubicBezTo>
                    <a:cubicBezTo>
                      <a:pt x="103994" y="292799"/>
                      <a:pt x="123682" y="353378"/>
                      <a:pt x="181737" y="353378"/>
                    </a:cubicBezTo>
                    <a:cubicBezTo>
                      <a:pt x="239287" y="353378"/>
                      <a:pt x="258975" y="292799"/>
                      <a:pt x="258975" y="181737"/>
                    </a:cubicBezTo>
                    <a:cubicBezTo>
                      <a:pt x="258975" y="70676"/>
                      <a:pt x="239287" y="10097"/>
                      <a:pt x="181737" y="1009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13" name="TextBox 12"/>
              <p:cNvSpPr txBox="1">
                <a:spLocks/>
              </p:cNvSpPr>
              <p:nvPr/>
            </p:nvSpPr>
            <p:spPr>
              <a:xfrm>
                <a:off x="-1602104" y="1805461"/>
                <a:ext cx="245345" cy="259984"/>
              </a:xfrm>
              <a:custGeom>
                <a:avLst/>
                <a:gdLst/>
                <a:ahLst/>
                <a:cxnLst/>
                <a:rect l="l" t="t" r="r" b="b"/>
                <a:pathLst>
                  <a:path w="245345" h="259984">
                    <a:moveTo>
                      <a:pt x="144885" y="0"/>
                    </a:moveTo>
                    <a:cubicBezTo>
                      <a:pt x="199406" y="0"/>
                      <a:pt x="240297" y="23726"/>
                      <a:pt x="240297" y="65122"/>
                    </a:cubicBezTo>
                    <a:cubicBezTo>
                      <a:pt x="240297" y="95411"/>
                      <a:pt x="217075" y="111061"/>
                      <a:pt x="192843" y="111061"/>
                    </a:cubicBezTo>
                    <a:cubicBezTo>
                      <a:pt x="166087" y="111061"/>
                      <a:pt x="150438" y="96421"/>
                      <a:pt x="148923" y="81781"/>
                    </a:cubicBezTo>
                    <a:cubicBezTo>
                      <a:pt x="151952" y="82791"/>
                      <a:pt x="155486" y="83296"/>
                      <a:pt x="158010" y="83296"/>
                    </a:cubicBezTo>
                    <a:cubicBezTo>
                      <a:pt x="176689" y="83296"/>
                      <a:pt x="184261" y="67646"/>
                      <a:pt x="184261" y="48463"/>
                    </a:cubicBezTo>
                    <a:cubicBezTo>
                      <a:pt x="184261" y="24231"/>
                      <a:pt x="171136" y="8582"/>
                      <a:pt x="145894" y="8582"/>
                    </a:cubicBezTo>
                    <a:cubicBezTo>
                      <a:pt x="110557" y="8582"/>
                      <a:pt x="93897" y="54016"/>
                      <a:pt x="93897" y="112575"/>
                    </a:cubicBezTo>
                    <a:cubicBezTo>
                      <a:pt x="93897" y="181737"/>
                      <a:pt x="124692" y="218589"/>
                      <a:pt x="171640" y="218589"/>
                    </a:cubicBezTo>
                    <a:cubicBezTo>
                      <a:pt x="200415" y="218589"/>
                      <a:pt x="226666" y="204958"/>
                      <a:pt x="242316" y="173659"/>
                    </a:cubicBezTo>
                    <a:lnTo>
                      <a:pt x="245345" y="175174"/>
                    </a:lnTo>
                    <a:cubicBezTo>
                      <a:pt x="231210" y="229190"/>
                      <a:pt x="185775" y="259984"/>
                      <a:pt x="129740" y="259984"/>
                    </a:cubicBezTo>
                    <a:cubicBezTo>
                      <a:pt x="60074" y="259984"/>
                      <a:pt x="0" y="213036"/>
                      <a:pt x="0" y="134788"/>
                    </a:cubicBezTo>
                    <a:cubicBezTo>
                      <a:pt x="0" y="49977"/>
                      <a:pt x="63608" y="0"/>
                      <a:pt x="144885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14" name="TextBox 13"/>
              <p:cNvSpPr txBox="1">
                <a:spLocks/>
              </p:cNvSpPr>
              <p:nvPr/>
            </p:nvSpPr>
            <p:spPr>
              <a:xfrm>
                <a:off x="-1335404" y="1805461"/>
                <a:ext cx="251908" cy="259984"/>
              </a:xfrm>
              <a:custGeom>
                <a:avLst/>
                <a:gdLst/>
                <a:ahLst/>
                <a:cxnLst/>
                <a:rect l="l" t="t" r="r" b="b"/>
                <a:pathLst>
                  <a:path w="251908" h="259984">
                    <a:moveTo>
                      <a:pt x="132264" y="0"/>
                    </a:moveTo>
                    <a:cubicBezTo>
                      <a:pt x="213541" y="0"/>
                      <a:pt x="251908" y="51996"/>
                      <a:pt x="251908" y="118633"/>
                    </a:cubicBezTo>
                    <a:lnTo>
                      <a:pt x="91373" y="118633"/>
                    </a:lnTo>
                    <a:cubicBezTo>
                      <a:pt x="91373" y="181232"/>
                      <a:pt x="124187" y="218589"/>
                      <a:pt x="172650" y="218589"/>
                    </a:cubicBezTo>
                    <a:cubicBezTo>
                      <a:pt x="203444" y="218589"/>
                      <a:pt x="230200" y="204958"/>
                      <a:pt x="245850" y="173659"/>
                    </a:cubicBezTo>
                    <a:lnTo>
                      <a:pt x="249383" y="175174"/>
                    </a:lnTo>
                    <a:cubicBezTo>
                      <a:pt x="234744" y="229190"/>
                      <a:pt x="189309" y="259984"/>
                      <a:pt x="131759" y="259984"/>
                    </a:cubicBezTo>
                    <a:cubicBezTo>
                      <a:pt x="59569" y="259984"/>
                      <a:pt x="0" y="212531"/>
                      <a:pt x="0" y="130244"/>
                    </a:cubicBezTo>
                    <a:cubicBezTo>
                      <a:pt x="0" y="50987"/>
                      <a:pt x="60074" y="0"/>
                      <a:pt x="132264" y="0"/>
                    </a:cubicBezTo>
                    <a:close/>
                    <a:moveTo>
                      <a:pt x="132264" y="8582"/>
                    </a:moveTo>
                    <a:cubicBezTo>
                      <a:pt x="106013" y="8582"/>
                      <a:pt x="92888" y="48463"/>
                      <a:pt x="91878" y="108032"/>
                    </a:cubicBezTo>
                    <a:lnTo>
                      <a:pt x="165078" y="108032"/>
                    </a:lnTo>
                    <a:cubicBezTo>
                      <a:pt x="165078" y="51492"/>
                      <a:pt x="161039" y="8582"/>
                      <a:pt x="132264" y="858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15" name="TextBox 14"/>
              <p:cNvSpPr txBox="1">
                <a:spLocks/>
              </p:cNvSpPr>
              <p:nvPr/>
            </p:nvSpPr>
            <p:spPr>
              <a:xfrm>
                <a:off x="-1766048" y="1810509"/>
                <a:ext cx="140846" cy="249888"/>
              </a:xfrm>
              <a:custGeom>
                <a:avLst/>
                <a:gdLst/>
                <a:ahLst/>
                <a:cxnLst/>
                <a:rect l="l" t="t" r="r" b="b"/>
                <a:pathLst>
                  <a:path w="140846" h="249888">
                    <a:moveTo>
                      <a:pt x="0" y="0"/>
                    </a:moveTo>
                    <a:lnTo>
                      <a:pt x="117119" y="0"/>
                    </a:lnTo>
                    <a:lnTo>
                      <a:pt x="117119" y="194862"/>
                    </a:lnTo>
                    <a:cubicBezTo>
                      <a:pt x="117119" y="228181"/>
                      <a:pt x="118633" y="234743"/>
                      <a:pt x="140846" y="248878"/>
                    </a:cubicBezTo>
                    <a:lnTo>
                      <a:pt x="140846" y="249888"/>
                    </a:lnTo>
                    <a:lnTo>
                      <a:pt x="3029" y="249888"/>
                    </a:lnTo>
                    <a:lnTo>
                      <a:pt x="3029" y="248878"/>
                    </a:lnTo>
                    <a:cubicBezTo>
                      <a:pt x="25241" y="234743"/>
                      <a:pt x="26755" y="228181"/>
                      <a:pt x="26755" y="194862"/>
                    </a:cubicBezTo>
                    <a:lnTo>
                      <a:pt x="26755" y="56035"/>
                    </a:lnTo>
                    <a:cubicBezTo>
                      <a:pt x="26755" y="21707"/>
                      <a:pt x="23726" y="14640"/>
                      <a:pt x="0" y="1009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16" name="TextBox 15"/>
              <p:cNvSpPr txBox="1">
                <a:spLocks/>
              </p:cNvSpPr>
              <p:nvPr/>
            </p:nvSpPr>
            <p:spPr>
              <a:xfrm>
                <a:off x="-1501643" y="2133303"/>
                <a:ext cx="323593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23593" h="363474">
                    <a:moveTo>
                      <a:pt x="190319" y="0"/>
                    </a:moveTo>
                    <a:cubicBezTo>
                      <a:pt x="236258" y="0"/>
                      <a:pt x="260994" y="15145"/>
                      <a:pt x="277653" y="15145"/>
                    </a:cubicBezTo>
                    <a:cubicBezTo>
                      <a:pt x="291284" y="15145"/>
                      <a:pt x="299866" y="9087"/>
                      <a:pt x="310467" y="0"/>
                    </a:cubicBezTo>
                    <a:lnTo>
                      <a:pt x="314001" y="120149"/>
                    </a:lnTo>
                    <a:lnTo>
                      <a:pt x="312991" y="120149"/>
                    </a:lnTo>
                    <a:cubicBezTo>
                      <a:pt x="287750" y="56541"/>
                      <a:pt x="250393" y="11107"/>
                      <a:pt x="199910" y="11107"/>
                    </a:cubicBezTo>
                    <a:cubicBezTo>
                      <a:pt x="137312" y="11107"/>
                      <a:pt x="101974" y="80268"/>
                      <a:pt x="101974" y="164573"/>
                    </a:cubicBezTo>
                    <a:cubicBezTo>
                      <a:pt x="101974" y="260490"/>
                      <a:pt x="155486" y="315011"/>
                      <a:pt x="221113" y="315011"/>
                    </a:cubicBezTo>
                    <a:cubicBezTo>
                      <a:pt x="263014" y="315011"/>
                      <a:pt x="297846" y="300371"/>
                      <a:pt x="320564" y="252918"/>
                    </a:cubicBezTo>
                    <a:lnTo>
                      <a:pt x="323593" y="253927"/>
                    </a:lnTo>
                    <a:cubicBezTo>
                      <a:pt x="306428" y="321574"/>
                      <a:pt x="252412" y="363474"/>
                      <a:pt x="173660" y="363474"/>
                    </a:cubicBezTo>
                    <a:cubicBezTo>
                      <a:pt x="74209" y="363474"/>
                      <a:pt x="0" y="293304"/>
                      <a:pt x="0" y="186786"/>
                    </a:cubicBezTo>
                    <a:cubicBezTo>
                      <a:pt x="0" y="76229"/>
                      <a:pt x="85820" y="0"/>
                      <a:pt x="19031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17" name="TextBox 16"/>
              <p:cNvSpPr txBox="1">
                <a:spLocks/>
              </p:cNvSpPr>
              <p:nvPr/>
            </p:nvSpPr>
            <p:spPr>
              <a:xfrm>
                <a:off x="-758693" y="2133303"/>
                <a:ext cx="362969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62969" h="363474">
                    <a:moveTo>
                      <a:pt x="181737" y="0"/>
                    </a:moveTo>
                    <a:cubicBezTo>
                      <a:pt x="285731" y="0"/>
                      <a:pt x="362969" y="75724"/>
                      <a:pt x="362969" y="181737"/>
                    </a:cubicBezTo>
                    <a:cubicBezTo>
                      <a:pt x="362969" y="287751"/>
                      <a:pt x="285731" y="363474"/>
                      <a:pt x="181737" y="363474"/>
                    </a:cubicBezTo>
                    <a:cubicBezTo>
                      <a:pt x="77238" y="363474"/>
                      <a:pt x="0" y="287751"/>
                      <a:pt x="0" y="181737"/>
                    </a:cubicBezTo>
                    <a:cubicBezTo>
                      <a:pt x="0" y="75724"/>
                      <a:pt x="77238" y="0"/>
                      <a:pt x="181737" y="0"/>
                    </a:cubicBezTo>
                    <a:close/>
                    <a:moveTo>
                      <a:pt x="181737" y="10097"/>
                    </a:moveTo>
                    <a:cubicBezTo>
                      <a:pt x="123682" y="10097"/>
                      <a:pt x="103994" y="70676"/>
                      <a:pt x="103994" y="181737"/>
                    </a:cubicBezTo>
                    <a:cubicBezTo>
                      <a:pt x="103994" y="292799"/>
                      <a:pt x="123682" y="353378"/>
                      <a:pt x="181737" y="353378"/>
                    </a:cubicBezTo>
                    <a:cubicBezTo>
                      <a:pt x="239287" y="353378"/>
                      <a:pt x="258975" y="292799"/>
                      <a:pt x="258975" y="181737"/>
                    </a:cubicBezTo>
                    <a:cubicBezTo>
                      <a:pt x="258975" y="70676"/>
                      <a:pt x="239287" y="10097"/>
                      <a:pt x="181737" y="1009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18" name="TextBox 17"/>
              <p:cNvSpPr txBox="1">
                <a:spLocks/>
              </p:cNvSpPr>
              <p:nvPr/>
            </p:nvSpPr>
            <p:spPr>
              <a:xfrm>
                <a:off x="-1156286" y="2133808"/>
                <a:ext cx="373571" cy="357921"/>
              </a:xfrm>
              <a:custGeom>
                <a:avLst/>
                <a:gdLst/>
                <a:ahLst/>
                <a:cxnLst/>
                <a:rect l="l" t="t" r="r" b="b"/>
                <a:pathLst>
                  <a:path w="373571" h="357921">
                    <a:moveTo>
                      <a:pt x="17164" y="0"/>
                    </a:moveTo>
                    <a:cubicBezTo>
                      <a:pt x="24232" y="3534"/>
                      <a:pt x="35338" y="4544"/>
                      <a:pt x="52502" y="4544"/>
                    </a:cubicBezTo>
                    <a:lnTo>
                      <a:pt x="321069" y="4544"/>
                    </a:lnTo>
                    <a:cubicBezTo>
                      <a:pt x="338233" y="4544"/>
                      <a:pt x="349339" y="3534"/>
                      <a:pt x="356407" y="0"/>
                    </a:cubicBezTo>
                    <a:lnTo>
                      <a:pt x="373571" y="119644"/>
                    </a:lnTo>
                    <a:lnTo>
                      <a:pt x="372561" y="119644"/>
                    </a:lnTo>
                    <a:cubicBezTo>
                      <a:pt x="329651" y="50988"/>
                      <a:pt x="309963" y="17669"/>
                      <a:pt x="255946" y="17669"/>
                    </a:cubicBezTo>
                    <a:lnTo>
                      <a:pt x="234239" y="17669"/>
                    </a:lnTo>
                    <a:lnTo>
                      <a:pt x="234239" y="297847"/>
                    </a:lnTo>
                    <a:cubicBezTo>
                      <a:pt x="234239" y="331165"/>
                      <a:pt x="240802" y="342272"/>
                      <a:pt x="263014" y="356912"/>
                    </a:cubicBezTo>
                    <a:lnTo>
                      <a:pt x="263014" y="357921"/>
                    </a:lnTo>
                    <a:lnTo>
                      <a:pt x="110557" y="357921"/>
                    </a:lnTo>
                    <a:lnTo>
                      <a:pt x="110557" y="356912"/>
                    </a:lnTo>
                    <a:cubicBezTo>
                      <a:pt x="133274" y="342272"/>
                      <a:pt x="139332" y="331165"/>
                      <a:pt x="139332" y="297847"/>
                    </a:cubicBezTo>
                    <a:lnTo>
                      <a:pt x="139332" y="17669"/>
                    </a:lnTo>
                    <a:lnTo>
                      <a:pt x="117624" y="17669"/>
                    </a:lnTo>
                    <a:cubicBezTo>
                      <a:pt x="63608" y="17669"/>
                      <a:pt x="43920" y="50988"/>
                      <a:pt x="1010" y="119644"/>
                    </a:cubicBezTo>
                    <a:lnTo>
                      <a:pt x="0" y="119644"/>
                    </a:lnTo>
                    <a:lnTo>
                      <a:pt x="17164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19" name="TextBox 18"/>
              <p:cNvSpPr txBox="1">
                <a:spLocks/>
              </p:cNvSpPr>
              <p:nvPr/>
            </p:nvSpPr>
            <p:spPr>
              <a:xfrm>
                <a:off x="-2145704" y="2148039"/>
                <a:ext cx="130738" cy="132991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20" name="TextBox 19"/>
              <p:cNvSpPr txBox="1">
                <a:spLocks/>
              </p:cNvSpPr>
              <p:nvPr/>
            </p:nvSpPr>
            <p:spPr>
              <a:xfrm>
                <a:off x="-1995442" y="2150070"/>
                <a:ext cx="79221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21" name="TextBox 20"/>
              <p:cNvSpPr txBox="1">
                <a:spLocks/>
              </p:cNvSpPr>
              <p:nvPr/>
            </p:nvSpPr>
            <p:spPr>
              <a:xfrm>
                <a:off x="-1879880" y="2150070"/>
                <a:ext cx="106535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22" name="TextBox 21"/>
              <p:cNvSpPr txBox="1">
                <a:spLocks/>
              </p:cNvSpPr>
              <p:nvPr/>
            </p:nvSpPr>
            <p:spPr>
              <a:xfrm>
                <a:off x="-1757317" y="2150070"/>
                <a:ext cx="107896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23" name="TextBox 22"/>
              <p:cNvSpPr txBox="1">
                <a:spLocks/>
              </p:cNvSpPr>
              <p:nvPr/>
            </p:nvSpPr>
            <p:spPr>
              <a:xfrm>
                <a:off x="-1623967" y="2150070"/>
                <a:ext cx="79221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</p:grpSp>
        <p:sp>
          <p:nvSpPr>
            <p:cNvPr id="10" name="Freeform 9"/>
            <p:cNvSpPr>
              <a:spLocks noEditPoints="1"/>
            </p:cNvSpPr>
            <p:nvPr/>
          </p:nvSpPr>
          <p:spPr bwMode="auto">
            <a:xfrm>
              <a:off x="7526204" y="2289887"/>
              <a:ext cx="3108960" cy="171869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5" name="Content Placeholder 8"/>
          <p:cNvSpPr txBox="1">
            <a:spLocks/>
          </p:cNvSpPr>
          <p:nvPr userDrawn="1"/>
        </p:nvSpPr>
        <p:spPr>
          <a:xfrm>
            <a:off x="547779" y="6418626"/>
            <a:ext cx="1828800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dirty="0">
                <a:solidFill>
                  <a:schemeClr val="accent1"/>
                </a:solidFill>
              </a:rPr>
              <a:t>©2018 Aetna Inc.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88347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/>
          <p:cNvSpPr/>
          <p:nvPr userDrawn="1"/>
        </p:nvSpPr>
        <p:spPr>
          <a:xfrm>
            <a:off x="0" y="1554480"/>
            <a:ext cx="2743200" cy="531966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txBody>
          <a:bodyPr wrap="square" lIns="365760" tIns="91440" rIns="365760" bIns="182880" anchor="ctr">
            <a:noAutofit/>
          </a:bodyPr>
          <a:lstStyle/>
          <a:p>
            <a:endParaRPr lang="en-US" sz="700" dirty="0">
              <a:solidFill>
                <a:schemeClr val="bg1"/>
              </a:solidFill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0" y="1"/>
            <a:ext cx="12188821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Domaine Display" charset="0"/>
              <a:ea typeface="Domaine Display" charset="0"/>
              <a:cs typeface="Domaine Display" charset="0"/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-1" y="1448245"/>
            <a:ext cx="12188952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latin typeface="Open Sans Bold"/>
              <a:cs typeface="Open Sans Bold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46876" y="371026"/>
            <a:ext cx="9686100" cy="476805"/>
          </a:xfrm>
          <a:prstGeom prst="rect">
            <a:avLst/>
          </a:prstGeom>
        </p:spPr>
        <p:txBody>
          <a:bodyPr anchor="b"/>
          <a:lstStyle>
            <a:lvl1pPr algn="l">
              <a:defRPr sz="3000" b="1">
                <a:solidFill>
                  <a:schemeClr val="bg1"/>
                </a:solidFill>
                <a:latin typeface="Domaine Display Bold" panose="020A0803080505060203" pitchFamily="18" charset="0"/>
                <a:ea typeface="Domaine Display Bold" panose="020A0803080505060203" pitchFamily="18" charset="0"/>
                <a:cs typeface="Domaine Display Bold" panose="020A0803080505060203" pitchFamily="18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46877" y="860151"/>
            <a:ext cx="9686099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10361175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Group 7"/>
          <p:cNvGrpSpPr>
            <a:grpSpLocks noChangeAspect="1"/>
          </p:cNvGrpSpPr>
          <p:nvPr userDrawn="1"/>
        </p:nvGrpSpPr>
        <p:grpSpPr>
          <a:xfrm>
            <a:off x="10577133" y="371026"/>
            <a:ext cx="1417320" cy="783522"/>
            <a:chOff x="7526204" y="2289887"/>
            <a:chExt cx="3108960" cy="1718692"/>
          </a:xfrm>
        </p:grpSpPr>
        <p:grpSp>
          <p:nvGrpSpPr>
            <p:cNvPr id="9" name="Group 8"/>
            <p:cNvGrpSpPr>
              <a:grpSpLocks noChangeAspect="1"/>
            </p:cNvGrpSpPr>
            <p:nvPr/>
          </p:nvGrpSpPr>
          <p:grpSpPr>
            <a:xfrm>
              <a:off x="8070916" y="2865025"/>
              <a:ext cx="2148840" cy="827025"/>
              <a:chOff x="-2522495" y="1678245"/>
              <a:chExt cx="2126771" cy="818532"/>
            </a:xfrm>
          </p:grpSpPr>
          <p:sp>
            <p:nvSpPr>
              <p:cNvPr id="11" name="TextBox 10"/>
              <p:cNvSpPr txBox="1">
                <a:spLocks/>
              </p:cNvSpPr>
              <p:nvPr/>
            </p:nvSpPr>
            <p:spPr>
              <a:xfrm>
                <a:off x="-2130523" y="1678245"/>
                <a:ext cx="486642" cy="382152"/>
              </a:xfrm>
              <a:custGeom>
                <a:avLst/>
                <a:gdLst/>
                <a:ahLst/>
                <a:cxnLst/>
                <a:rect l="l" t="t" r="r" b="b"/>
                <a:pathLst>
                  <a:path w="486642" h="382152">
                    <a:moveTo>
                      <a:pt x="150943" y="0"/>
                    </a:moveTo>
                    <a:cubicBezTo>
                      <a:pt x="191582" y="0"/>
                      <a:pt x="224490" y="12368"/>
                      <a:pt x="232082" y="39810"/>
                    </a:cubicBezTo>
                    <a:lnTo>
                      <a:pt x="232262" y="41192"/>
                    </a:lnTo>
                    <a:lnTo>
                      <a:pt x="244394" y="27828"/>
                    </a:lnTo>
                    <a:cubicBezTo>
                      <a:pt x="265912" y="9086"/>
                      <a:pt x="296328" y="0"/>
                      <a:pt x="331918" y="0"/>
                    </a:cubicBezTo>
                    <a:cubicBezTo>
                      <a:pt x="355140" y="0"/>
                      <a:pt x="375838" y="4038"/>
                      <a:pt x="390730" y="12620"/>
                    </a:cubicBezTo>
                    <a:lnTo>
                      <a:pt x="399550" y="19037"/>
                    </a:lnTo>
                    <a:lnTo>
                      <a:pt x="415123" y="9213"/>
                    </a:lnTo>
                    <a:cubicBezTo>
                      <a:pt x="421204" y="6846"/>
                      <a:pt x="427956" y="5553"/>
                      <a:pt x="435150" y="5553"/>
                    </a:cubicBezTo>
                    <a:cubicBezTo>
                      <a:pt x="464430" y="5553"/>
                      <a:pt x="486642" y="26250"/>
                      <a:pt x="486642" y="53511"/>
                    </a:cubicBezTo>
                    <a:cubicBezTo>
                      <a:pt x="486642" y="80772"/>
                      <a:pt x="464430" y="101974"/>
                      <a:pt x="435150" y="101974"/>
                    </a:cubicBezTo>
                    <a:cubicBezTo>
                      <a:pt x="420763" y="101974"/>
                      <a:pt x="408142" y="96674"/>
                      <a:pt x="399118" y="87965"/>
                    </a:cubicBezTo>
                    <a:lnTo>
                      <a:pt x="397141" y="85099"/>
                    </a:lnTo>
                    <a:lnTo>
                      <a:pt x="387023" y="90979"/>
                    </a:lnTo>
                    <a:cubicBezTo>
                      <a:pt x="381675" y="92887"/>
                      <a:pt x="375838" y="93897"/>
                      <a:pt x="369780" y="93897"/>
                    </a:cubicBezTo>
                    <a:cubicBezTo>
                      <a:pt x="355140" y="93897"/>
                      <a:pt x="342015" y="89354"/>
                      <a:pt x="335452" y="81781"/>
                    </a:cubicBezTo>
                    <a:cubicBezTo>
                      <a:pt x="350092" y="78247"/>
                      <a:pt x="359179" y="66132"/>
                      <a:pt x="359179" y="42910"/>
                    </a:cubicBezTo>
                    <a:cubicBezTo>
                      <a:pt x="359179" y="22717"/>
                      <a:pt x="350597" y="8077"/>
                      <a:pt x="331918" y="8077"/>
                    </a:cubicBezTo>
                    <a:cubicBezTo>
                      <a:pt x="308696" y="8077"/>
                      <a:pt x="300619" y="29784"/>
                      <a:pt x="300619" y="58054"/>
                    </a:cubicBezTo>
                    <a:lnTo>
                      <a:pt x="300619" y="132264"/>
                    </a:lnTo>
                    <a:lnTo>
                      <a:pt x="363217" y="132264"/>
                    </a:lnTo>
                    <a:lnTo>
                      <a:pt x="360693" y="144884"/>
                    </a:lnTo>
                    <a:lnTo>
                      <a:pt x="300619" y="144884"/>
                    </a:lnTo>
                    <a:lnTo>
                      <a:pt x="300619" y="327126"/>
                    </a:lnTo>
                    <a:cubicBezTo>
                      <a:pt x="300619" y="360445"/>
                      <a:pt x="312230" y="369027"/>
                      <a:pt x="339490" y="381142"/>
                    </a:cubicBezTo>
                    <a:lnTo>
                      <a:pt x="339490" y="382152"/>
                    </a:lnTo>
                    <a:lnTo>
                      <a:pt x="186529" y="382152"/>
                    </a:lnTo>
                    <a:lnTo>
                      <a:pt x="186529" y="381142"/>
                    </a:lnTo>
                    <a:cubicBezTo>
                      <a:pt x="208741" y="367007"/>
                      <a:pt x="210255" y="360445"/>
                      <a:pt x="210255" y="327126"/>
                    </a:cubicBezTo>
                    <a:lnTo>
                      <a:pt x="210255" y="144884"/>
                    </a:lnTo>
                    <a:lnTo>
                      <a:pt x="180976" y="144884"/>
                    </a:lnTo>
                    <a:lnTo>
                      <a:pt x="180976" y="139331"/>
                    </a:lnTo>
                    <a:lnTo>
                      <a:pt x="210255" y="128225"/>
                    </a:lnTo>
                    <a:lnTo>
                      <a:pt x="210255" y="113585"/>
                    </a:lnTo>
                    <a:lnTo>
                      <a:pt x="212504" y="87227"/>
                    </a:lnTo>
                    <a:lnTo>
                      <a:pt x="206048" y="90979"/>
                    </a:lnTo>
                    <a:cubicBezTo>
                      <a:pt x="200700" y="92887"/>
                      <a:pt x="194863" y="93897"/>
                      <a:pt x="188805" y="93897"/>
                    </a:cubicBezTo>
                    <a:cubicBezTo>
                      <a:pt x="174165" y="93897"/>
                      <a:pt x="161040" y="89354"/>
                      <a:pt x="154477" y="81781"/>
                    </a:cubicBezTo>
                    <a:cubicBezTo>
                      <a:pt x="169117" y="78247"/>
                      <a:pt x="178204" y="66132"/>
                      <a:pt x="178204" y="42910"/>
                    </a:cubicBezTo>
                    <a:cubicBezTo>
                      <a:pt x="178204" y="22717"/>
                      <a:pt x="169622" y="8077"/>
                      <a:pt x="150943" y="8077"/>
                    </a:cubicBezTo>
                    <a:cubicBezTo>
                      <a:pt x="127721" y="8077"/>
                      <a:pt x="119644" y="29784"/>
                      <a:pt x="119644" y="58054"/>
                    </a:cubicBezTo>
                    <a:lnTo>
                      <a:pt x="119644" y="132264"/>
                    </a:lnTo>
                    <a:lnTo>
                      <a:pt x="182242" y="132264"/>
                    </a:lnTo>
                    <a:lnTo>
                      <a:pt x="179718" y="144884"/>
                    </a:lnTo>
                    <a:lnTo>
                      <a:pt x="119644" y="144884"/>
                    </a:lnTo>
                    <a:lnTo>
                      <a:pt x="119644" y="327126"/>
                    </a:lnTo>
                    <a:cubicBezTo>
                      <a:pt x="119644" y="360445"/>
                      <a:pt x="131255" y="369027"/>
                      <a:pt x="158516" y="381142"/>
                    </a:cubicBezTo>
                    <a:lnTo>
                      <a:pt x="158516" y="382152"/>
                    </a:lnTo>
                    <a:lnTo>
                      <a:pt x="5554" y="382152"/>
                    </a:lnTo>
                    <a:lnTo>
                      <a:pt x="5554" y="381142"/>
                    </a:lnTo>
                    <a:cubicBezTo>
                      <a:pt x="27766" y="367007"/>
                      <a:pt x="29280" y="360445"/>
                      <a:pt x="29280" y="327126"/>
                    </a:cubicBezTo>
                    <a:lnTo>
                      <a:pt x="29280" y="144884"/>
                    </a:lnTo>
                    <a:lnTo>
                      <a:pt x="0" y="144884"/>
                    </a:lnTo>
                    <a:lnTo>
                      <a:pt x="0" y="139331"/>
                    </a:lnTo>
                    <a:lnTo>
                      <a:pt x="29280" y="128225"/>
                    </a:lnTo>
                    <a:lnTo>
                      <a:pt x="29280" y="113585"/>
                    </a:lnTo>
                    <a:cubicBezTo>
                      <a:pt x="29280" y="36347"/>
                      <a:pt x="79763" y="0"/>
                      <a:pt x="15094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12" name="TextBox 11"/>
              <p:cNvSpPr txBox="1">
                <a:spLocks/>
              </p:cNvSpPr>
              <p:nvPr/>
            </p:nvSpPr>
            <p:spPr>
              <a:xfrm>
                <a:off x="-2522495" y="1701971"/>
                <a:ext cx="362969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62969" h="363474">
                    <a:moveTo>
                      <a:pt x="181737" y="0"/>
                    </a:moveTo>
                    <a:cubicBezTo>
                      <a:pt x="285731" y="0"/>
                      <a:pt x="362969" y="75724"/>
                      <a:pt x="362969" y="181737"/>
                    </a:cubicBezTo>
                    <a:cubicBezTo>
                      <a:pt x="362969" y="287751"/>
                      <a:pt x="285731" y="363474"/>
                      <a:pt x="181737" y="363474"/>
                    </a:cubicBezTo>
                    <a:cubicBezTo>
                      <a:pt x="77238" y="363474"/>
                      <a:pt x="0" y="287751"/>
                      <a:pt x="0" y="181737"/>
                    </a:cubicBezTo>
                    <a:cubicBezTo>
                      <a:pt x="0" y="75724"/>
                      <a:pt x="77238" y="0"/>
                      <a:pt x="181737" y="0"/>
                    </a:cubicBezTo>
                    <a:close/>
                    <a:moveTo>
                      <a:pt x="181737" y="10097"/>
                    </a:moveTo>
                    <a:cubicBezTo>
                      <a:pt x="123682" y="10097"/>
                      <a:pt x="103994" y="70676"/>
                      <a:pt x="103994" y="181737"/>
                    </a:cubicBezTo>
                    <a:cubicBezTo>
                      <a:pt x="103994" y="292799"/>
                      <a:pt x="123682" y="353378"/>
                      <a:pt x="181737" y="353378"/>
                    </a:cubicBezTo>
                    <a:cubicBezTo>
                      <a:pt x="239287" y="353378"/>
                      <a:pt x="258975" y="292799"/>
                      <a:pt x="258975" y="181737"/>
                    </a:cubicBezTo>
                    <a:cubicBezTo>
                      <a:pt x="258975" y="70676"/>
                      <a:pt x="239287" y="10097"/>
                      <a:pt x="181737" y="1009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13" name="TextBox 12"/>
              <p:cNvSpPr txBox="1">
                <a:spLocks/>
              </p:cNvSpPr>
              <p:nvPr/>
            </p:nvSpPr>
            <p:spPr>
              <a:xfrm>
                <a:off x="-1602104" y="1805461"/>
                <a:ext cx="245345" cy="259984"/>
              </a:xfrm>
              <a:custGeom>
                <a:avLst/>
                <a:gdLst/>
                <a:ahLst/>
                <a:cxnLst/>
                <a:rect l="l" t="t" r="r" b="b"/>
                <a:pathLst>
                  <a:path w="245345" h="259984">
                    <a:moveTo>
                      <a:pt x="144885" y="0"/>
                    </a:moveTo>
                    <a:cubicBezTo>
                      <a:pt x="199406" y="0"/>
                      <a:pt x="240297" y="23726"/>
                      <a:pt x="240297" y="65122"/>
                    </a:cubicBezTo>
                    <a:cubicBezTo>
                      <a:pt x="240297" y="95411"/>
                      <a:pt x="217075" y="111061"/>
                      <a:pt x="192843" y="111061"/>
                    </a:cubicBezTo>
                    <a:cubicBezTo>
                      <a:pt x="166087" y="111061"/>
                      <a:pt x="150438" y="96421"/>
                      <a:pt x="148923" y="81781"/>
                    </a:cubicBezTo>
                    <a:cubicBezTo>
                      <a:pt x="151952" y="82791"/>
                      <a:pt x="155486" y="83296"/>
                      <a:pt x="158010" y="83296"/>
                    </a:cubicBezTo>
                    <a:cubicBezTo>
                      <a:pt x="176689" y="83296"/>
                      <a:pt x="184261" y="67646"/>
                      <a:pt x="184261" y="48463"/>
                    </a:cubicBezTo>
                    <a:cubicBezTo>
                      <a:pt x="184261" y="24231"/>
                      <a:pt x="171136" y="8582"/>
                      <a:pt x="145894" y="8582"/>
                    </a:cubicBezTo>
                    <a:cubicBezTo>
                      <a:pt x="110557" y="8582"/>
                      <a:pt x="93897" y="54016"/>
                      <a:pt x="93897" y="112575"/>
                    </a:cubicBezTo>
                    <a:cubicBezTo>
                      <a:pt x="93897" y="181737"/>
                      <a:pt x="124692" y="218589"/>
                      <a:pt x="171640" y="218589"/>
                    </a:cubicBezTo>
                    <a:cubicBezTo>
                      <a:pt x="200415" y="218589"/>
                      <a:pt x="226666" y="204958"/>
                      <a:pt x="242316" y="173659"/>
                    </a:cubicBezTo>
                    <a:lnTo>
                      <a:pt x="245345" y="175174"/>
                    </a:lnTo>
                    <a:cubicBezTo>
                      <a:pt x="231210" y="229190"/>
                      <a:pt x="185775" y="259984"/>
                      <a:pt x="129740" y="259984"/>
                    </a:cubicBezTo>
                    <a:cubicBezTo>
                      <a:pt x="60074" y="259984"/>
                      <a:pt x="0" y="213036"/>
                      <a:pt x="0" y="134788"/>
                    </a:cubicBezTo>
                    <a:cubicBezTo>
                      <a:pt x="0" y="49977"/>
                      <a:pt x="63608" y="0"/>
                      <a:pt x="144885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14" name="TextBox 13"/>
              <p:cNvSpPr txBox="1">
                <a:spLocks/>
              </p:cNvSpPr>
              <p:nvPr/>
            </p:nvSpPr>
            <p:spPr>
              <a:xfrm>
                <a:off x="-1335404" y="1805461"/>
                <a:ext cx="251908" cy="259984"/>
              </a:xfrm>
              <a:custGeom>
                <a:avLst/>
                <a:gdLst/>
                <a:ahLst/>
                <a:cxnLst/>
                <a:rect l="l" t="t" r="r" b="b"/>
                <a:pathLst>
                  <a:path w="251908" h="259984">
                    <a:moveTo>
                      <a:pt x="132264" y="0"/>
                    </a:moveTo>
                    <a:cubicBezTo>
                      <a:pt x="213541" y="0"/>
                      <a:pt x="251908" y="51996"/>
                      <a:pt x="251908" y="118633"/>
                    </a:cubicBezTo>
                    <a:lnTo>
                      <a:pt x="91373" y="118633"/>
                    </a:lnTo>
                    <a:cubicBezTo>
                      <a:pt x="91373" y="181232"/>
                      <a:pt x="124187" y="218589"/>
                      <a:pt x="172650" y="218589"/>
                    </a:cubicBezTo>
                    <a:cubicBezTo>
                      <a:pt x="203444" y="218589"/>
                      <a:pt x="230200" y="204958"/>
                      <a:pt x="245850" y="173659"/>
                    </a:cubicBezTo>
                    <a:lnTo>
                      <a:pt x="249383" y="175174"/>
                    </a:lnTo>
                    <a:cubicBezTo>
                      <a:pt x="234744" y="229190"/>
                      <a:pt x="189309" y="259984"/>
                      <a:pt x="131759" y="259984"/>
                    </a:cubicBezTo>
                    <a:cubicBezTo>
                      <a:pt x="59569" y="259984"/>
                      <a:pt x="0" y="212531"/>
                      <a:pt x="0" y="130244"/>
                    </a:cubicBezTo>
                    <a:cubicBezTo>
                      <a:pt x="0" y="50987"/>
                      <a:pt x="60074" y="0"/>
                      <a:pt x="132264" y="0"/>
                    </a:cubicBezTo>
                    <a:close/>
                    <a:moveTo>
                      <a:pt x="132264" y="8582"/>
                    </a:moveTo>
                    <a:cubicBezTo>
                      <a:pt x="106013" y="8582"/>
                      <a:pt x="92888" y="48463"/>
                      <a:pt x="91878" y="108032"/>
                    </a:cubicBezTo>
                    <a:lnTo>
                      <a:pt x="165078" y="108032"/>
                    </a:lnTo>
                    <a:cubicBezTo>
                      <a:pt x="165078" y="51492"/>
                      <a:pt x="161039" y="8582"/>
                      <a:pt x="132264" y="858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15" name="TextBox 14"/>
              <p:cNvSpPr txBox="1">
                <a:spLocks/>
              </p:cNvSpPr>
              <p:nvPr/>
            </p:nvSpPr>
            <p:spPr>
              <a:xfrm>
                <a:off x="-1766048" y="1810509"/>
                <a:ext cx="140846" cy="249888"/>
              </a:xfrm>
              <a:custGeom>
                <a:avLst/>
                <a:gdLst/>
                <a:ahLst/>
                <a:cxnLst/>
                <a:rect l="l" t="t" r="r" b="b"/>
                <a:pathLst>
                  <a:path w="140846" h="249888">
                    <a:moveTo>
                      <a:pt x="0" y="0"/>
                    </a:moveTo>
                    <a:lnTo>
                      <a:pt x="117119" y="0"/>
                    </a:lnTo>
                    <a:lnTo>
                      <a:pt x="117119" y="194862"/>
                    </a:lnTo>
                    <a:cubicBezTo>
                      <a:pt x="117119" y="228181"/>
                      <a:pt x="118633" y="234743"/>
                      <a:pt x="140846" y="248878"/>
                    </a:cubicBezTo>
                    <a:lnTo>
                      <a:pt x="140846" y="249888"/>
                    </a:lnTo>
                    <a:lnTo>
                      <a:pt x="3029" y="249888"/>
                    </a:lnTo>
                    <a:lnTo>
                      <a:pt x="3029" y="248878"/>
                    </a:lnTo>
                    <a:cubicBezTo>
                      <a:pt x="25241" y="234743"/>
                      <a:pt x="26755" y="228181"/>
                      <a:pt x="26755" y="194862"/>
                    </a:cubicBezTo>
                    <a:lnTo>
                      <a:pt x="26755" y="56035"/>
                    </a:lnTo>
                    <a:cubicBezTo>
                      <a:pt x="26755" y="21707"/>
                      <a:pt x="23726" y="14640"/>
                      <a:pt x="0" y="1009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16" name="TextBox 15"/>
              <p:cNvSpPr txBox="1">
                <a:spLocks/>
              </p:cNvSpPr>
              <p:nvPr/>
            </p:nvSpPr>
            <p:spPr>
              <a:xfrm>
                <a:off x="-1501643" y="2133303"/>
                <a:ext cx="323593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23593" h="363474">
                    <a:moveTo>
                      <a:pt x="190319" y="0"/>
                    </a:moveTo>
                    <a:cubicBezTo>
                      <a:pt x="236258" y="0"/>
                      <a:pt x="260994" y="15145"/>
                      <a:pt x="277653" y="15145"/>
                    </a:cubicBezTo>
                    <a:cubicBezTo>
                      <a:pt x="291284" y="15145"/>
                      <a:pt x="299866" y="9087"/>
                      <a:pt x="310467" y="0"/>
                    </a:cubicBezTo>
                    <a:lnTo>
                      <a:pt x="314001" y="120149"/>
                    </a:lnTo>
                    <a:lnTo>
                      <a:pt x="312991" y="120149"/>
                    </a:lnTo>
                    <a:cubicBezTo>
                      <a:pt x="287750" y="56541"/>
                      <a:pt x="250393" y="11107"/>
                      <a:pt x="199910" y="11107"/>
                    </a:cubicBezTo>
                    <a:cubicBezTo>
                      <a:pt x="137312" y="11107"/>
                      <a:pt x="101974" y="80268"/>
                      <a:pt x="101974" y="164573"/>
                    </a:cubicBezTo>
                    <a:cubicBezTo>
                      <a:pt x="101974" y="260490"/>
                      <a:pt x="155486" y="315011"/>
                      <a:pt x="221113" y="315011"/>
                    </a:cubicBezTo>
                    <a:cubicBezTo>
                      <a:pt x="263014" y="315011"/>
                      <a:pt x="297846" y="300371"/>
                      <a:pt x="320564" y="252918"/>
                    </a:cubicBezTo>
                    <a:lnTo>
                      <a:pt x="323593" y="253927"/>
                    </a:lnTo>
                    <a:cubicBezTo>
                      <a:pt x="306428" y="321574"/>
                      <a:pt x="252412" y="363474"/>
                      <a:pt x="173660" y="363474"/>
                    </a:cubicBezTo>
                    <a:cubicBezTo>
                      <a:pt x="74209" y="363474"/>
                      <a:pt x="0" y="293304"/>
                      <a:pt x="0" y="186786"/>
                    </a:cubicBezTo>
                    <a:cubicBezTo>
                      <a:pt x="0" y="76229"/>
                      <a:pt x="85820" y="0"/>
                      <a:pt x="19031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17" name="TextBox 16"/>
              <p:cNvSpPr txBox="1">
                <a:spLocks/>
              </p:cNvSpPr>
              <p:nvPr/>
            </p:nvSpPr>
            <p:spPr>
              <a:xfrm>
                <a:off x="-758693" y="2133303"/>
                <a:ext cx="362969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62969" h="363474">
                    <a:moveTo>
                      <a:pt x="181737" y="0"/>
                    </a:moveTo>
                    <a:cubicBezTo>
                      <a:pt x="285731" y="0"/>
                      <a:pt x="362969" y="75724"/>
                      <a:pt x="362969" y="181737"/>
                    </a:cubicBezTo>
                    <a:cubicBezTo>
                      <a:pt x="362969" y="287751"/>
                      <a:pt x="285731" y="363474"/>
                      <a:pt x="181737" y="363474"/>
                    </a:cubicBezTo>
                    <a:cubicBezTo>
                      <a:pt x="77238" y="363474"/>
                      <a:pt x="0" y="287751"/>
                      <a:pt x="0" y="181737"/>
                    </a:cubicBezTo>
                    <a:cubicBezTo>
                      <a:pt x="0" y="75724"/>
                      <a:pt x="77238" y="0"/>
                      <a:pt x="181737" y="0"/>
                    </a:cubicBezTo>
                    <a:close/>
                    <a:moveTo>
                      <a:pt x="181737" y="10097"/>
                    </a:moveTo>
                    <a:cubicBezTo>
                      <a:pt x="123682" y="10097"/>
                      <a:pt x="103994" y="70676"/>
                      <a:pt x="103994" y="181737"/>
                    </a:cubicBezTo>
                    <a:cubicBezTo>
                      <a:pt x="103994" y="292799"/>
                      <a:pt x="123682" y="353378"/>
                      <a:pt x="181737" y="353378"/>
                    </a:cubicBezTo>
                    <a:cubicBezTo>
                      <a:pt x="239287" y="353378"/>
                      <a:pt x="258975" y="292799"/>
                      <a:pt x="258975" y="181737"/>
                    </a:cubicBezTo>
                    <a:cubicBezTo>
                      <a:pt x="258975" y="70676"/>
                      <a:pt x="239287" y="10097"/>
                      <a:pt x="181737" y="1009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18" name="TextBox 17"/>
              <p:cNvSpPr txBox="1">
                <a:spLocks/>
              </p:cNvSpPr>
              <p:nvPr/>
            </p:nvSpPr>
            <p:spPr>
              <a:xfrm>
                <a:off x="-1156286" y="2133808"/>
                <a:ext cx="373571" cy="357921"/>
              </a:xfrm>
              <a:custGeom>
                <a:avLst/>
                <a:gdLst/>
                <a:ahLst/>
                <a:cxnLst/>
                <a:rect l="l" t="t" r="r" b="b"/>
                <a:pathLst>
                  <a:path w="373571" h="357921">
                    <a:moveTo>
                      <a:pt x="17164" y="0"/>
                    </a:moveTo>
                    <a:cubicBezTo>
                      <a:pt x="24232" y="3534"/>
                      <a:pt x="35338" y="4544"/>
                      <a:pt x="52502" y="4544"/>
                    </a:cubicBezTo>
                    <a:lnTo>
                      <a:pt x="321069" y="4544"/>
                    </a:lnTo>
                    <a:cubicBezTo>
                      <a:pt x="338233" y="4544"/>
                      <a:pt x="349339" y="3534"/>
                      <a:pt x="356407" y="0"/>
                    </a:cubicBezTo>
                    <a:lnTo>
                      <a:pt x="373571" y="119644"/>
                    </a:lnTo>
                    <a:lnTo>
                      <a:pt x="372561" y="119644"/>
                    </a:lnTo>
                    <a:cubicBezTo>
                      <a:pt x="329651" y="50988"/>
                      <a:pt x="309963" y="17669"/>
                      <a:pt x="255946" y="17669"/>
                    </a:cubicBezTo>
                    <a:lnTo>
                      <a:pt x="234239" y="17669"/>
                    </a:lnTo>
                    <a:lnTo>
                      <a:pt x="234239" y="297847"/>
                    </a:lnTo>
                    <a:cubicBezTo>
                      <a:pt x="234239" y="331165"/>
                      <a:pt x="240802" y="342272"/>
                      <a:pt x="263014" y="356912"/>
                    </a:cubicBezTo>
                    <a:lnTo>
                      <a:pt x="263014" y="357921"/>
                    </a:lnTo>
                    <a:lnTo>
                      <a:pt x="110557" y="357921"/>
                    </a:lnTo>
                    <a:lnTo>
                      <a:pt x="110557" y="356912"/>
                    </a:lnTo>
                    <a:cubicBezTo>
                      <a:pt x="133274" y="342272"/>
                      <a:pt x="139332" y="331165"/>
                      <a:pt x="139332" y="297847"/>
                    </a:cubicBezTo>
                    <a:lnTo>
                      <a:pt x="139332" y="17669"/>
                    </a:lnTo>
                    <a:lnTo>
                      <a:pt x="117624" y="17669"/>
                    </a:lnTo>
                    <a:cubicBezTo>
                      <a:pt x="63608" y="17669"/>
                      <a:pt x="43920" y="50988"/>
                      <a:pt x="1010" y="119644"/>
                    </a:cubicBezTo>
                    <a:lnTo>
                      <a:pt x="0" y="119644"/>
                    </a:lnTo>
                    <a:lnTo>
                      <a:pt x="17164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19" name="TextBox 18"/>
              <p:cNvSpPr txBox="1">
                <a:spLocks/>
              </p:cNvSpPr>
              <p:nvPr/>
            </p:nvSpPr>
            <p:spPr>
              <a:xfrm>
                <a:off x="-2145704" y="2148039"/>
                <a:ext cx="130738" cy="132991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20" name="TextBox 19"/>
              <p:cNvSpPr txBox="1">
                <a:spLocks/>
              </p:cNvSpPr>
              <p:nvPr/>
            </p:nvSpPr>
            <p:spPr>
              <a:xfrm>
                <a:off x="-1995442" y="2150070"/>
                <a:ext cx="79221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21" name="TextBox 20"/>
              <p:cNvSpPr txBox="1">
                <a:spLocks/>
              </p:cNvSpPr>
              <p:nvPr/>
            </p:nvSpPr>
            <p:spPr>
              <a:xfrm>
                <a:off x="-1879880" y="2150070"/>
                <a:ext cx="106535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22" name="TextBox 21"/>
              <p:cNvSpPr txBox="1">
                <a:spLocks/>
              </p:cNvSpPr>
              <p:nvPr/>
            </p:nvSpPr>
            <p:spPr>
              <a:xfrm>
                <a:off x="-1757317" y="2150070"/>
                <a:ext cx="107896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23" name="TextBox 22"/>
              <p:cNvSpPr txBox="1">
                <a:spLocks/>
              </p:cNvSpPr>
              <p:nvPr/>
            </p:nvSpPr>
            <p:spPr>
              <a:xfrm>
                <a:off x="-1623967" y="2150070"/>
                <a:ext cx="79221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</p:grpSp>
        <p:sp>
          <p:nvSpPr>
            <p:cNvPr id="10" name="Freeform 9"/>
            <p:cNvSpPr>
              <a:spLocks noEditPoints="1"/>
            </p:cNvSpPr>
            <p:nvPr/>
          </p:nvSpPr>
          <p:spPr bwMode="auto">
            <a:xfrm>
              <a:off x="7526204" y="2289887"/>
              <a:ext cx="3108960" cy="171869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5" name="Content Placeholder 8"/>
          <p:cNvSpPr txBox="1">
            <a:spLocks/>
          </p:cNvSpPr>
          <p:nvPr userDrawn="1"/>
        </p:nvSpPr>
        <p:spPr>
          <a:xfrm>
            <a:off x="547779" y="6418626"/>
            <a:ext cx="2011680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dirty="0">
                <a:solidFill>
                  <a:schemeClr val="tx2">
                    <a:lumMod val="60000"/>
                    <a:lumOff val="40000"/>
                  </a:schemeClr>
                </a:solidFill>
              </a:rPr>
              <a:t>©2018 Aetna Inc.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/>
        </p:nvGrpSpPr>
        <p:grpSpPr>
          <a:xfrm>
            <a:off x="5841888" y="6443197"/>
            <a:ext cx="528691" cy="134678"/>
            <a:chOff x="5841888" y="6443197"/>
            <a:chExt cx="528691" cy="134678"/>
          </a:xfrm>
          <a:solidFill>
            <a:schemeClr val="accent2"/>
          </a:solidFill>
        </p:grpSpPr>
        <p:sp>
          <p:nvSpPr>
            <p:cNvPr id="10" name="Freeform 5"/>
            <p:cNvSpPr>
              <a:spLocks noEditPoints="1"/>
            </p:cNvSpPr>
            <p:nvPr/>
          </p:nvSpPr>
          <p:spPr bwMode="auto">
            <a:xfrm>
              <a:off x="5841888" y="6443197"/>
              <a:ext cx="496424" cy="134678"/>
            </a:xfrm>
            <a:custGeom>
              <a:avLst/>
              <a:gdLst>
                <a:gd name="T0" fmla="*/ 610 w 1071"/>
                <a:gd name="T1" fmla="*/ 283 h 288"/>
                <a:gd name="T2" fmla="*/ 486 w 1071"/>
                <a:gd name="T3" fmla="*/ 216 h 288"/>
                <a:gd name="T4" fmla="*/ 462 w 1071"/>
                <a:gd name="T5" fmla="*/ 108 h 288"/>
                <a:gd name="T6" fmla="*/ 518 w 1071"/>
                <a:gd name="T7" fmla="*/ 0 h 288"/>
                <a:gd name="T8" fmla="*/ 558 w 1071"/>
                <a:gd name="T9" fmla="*/ 60 h 288"/>
                <a:gd name="T10" fmla="*/ 603 w 1071"/>
                <a:gd name="T11" fmla="*/ 108 h 288"/>
                <a:gd name="T12" fmla="*/ 557 w 1071"/>
                <a:gd name="T13" fmla="*/ 195 h 288"/>
                <a:gd name="T14" fmla="*/ 607 w 1071"/>
                <a:gd name="T15" fmla="*/ 233 h 288"/>
                <a:gd name="T16" fmla="*/ 844 w 1071"/>
                <a:gd name="T17" fmla="*/ 135 h 288"/>
                <a:gd name="T18" fmla="*/ 638 w 1071"/>
                <a:gd name="T19" fmla="*/ 60 h 288"/>
                <a:gd name="T20" fmla="*/ 638 w 1071"/>
                <a:gd name="T21" fmla="*/ 283 h 288"/>
                <a:gd name="T22" fmla="*/ 710 w 1071"/>
                <a:gd name="T23" fmla="*/ 179 h 288"/>
                <a:gd name="T24" fmla="*/ 739 w 1071"/>
                <a:gd name="T25" fmla="*/ 99 h 288"/>
                <a:gd name="T26" fmla="*/ 774 w 1071"/>
                <a:gd name="T27" fmla="*/ 179 h 288"/>
                <a:gd name="T28" fmla="*/ 847 w 1071"/>
                <a:gd name="T29" fmla="*/ 283 h 288"/>
                <a:gd name="T30" fmla="*/ 340 w 1071"/>
                <a:gd name="T31" fmla="*/ 189 h 288"/>
                <a:gd name="T32" fmla="*/ 311 w 1071"/>
                <a:gd name="T33" fmla="*/ 190 h 288"/>
                <a:gd name="T34" fmla="*/ 431 w 1071"/>
                <a:gd name="T35" fmla="*/ 226 h 288"/>
                <a:gd name="T36" fmla="*/ 360 w 1071"/>
                <a:gd name="T37" fmla="*/ 288 h 288"/>
                <a:gd name="T38" fmla="*/ 195 w 1071"/>
                <a:gd name="T39" fmla="*/ 187 h 288"/>
                <a:gd name="T40" fmla="*/ 198 w 1071"/>
                <a:gd name="T41" fmla="*/ 283 h 288"/>
                <a:gd name="T42" fmla="*/ 0 w 1071"/>
                <a:gd name="T43" fmla="*/ 215 h 288"/>
                <a:gd name="T44" fmla="*/ 126 w 1071"/>
                <a:gd name="T45" fmla="*/ 148 h 288"/>
                <a:gd name="T46" fmla="*/ 84 w 1071"/>
                <a:gd name="T47" fmla="*/ 99 h 288"/>
                <a:gd name="T48" fmla="*/ 20 w 1071"/>
                <a:gd name="T49" fmla="*/ 65 h 288"/>
                <a:gd name="T50" fmla="*/ 197 w 1071"/>
                <a:gd name="T51" fmla="*/ 138 h 288"/>
                <a:gd name="T52" fmla="*/ 237 w 1071"/>
                <a:gd name="T53" fmla="*/ 149 h 288"/>
                <a:gd name="T54" fmla="*/ 445 w 1071"/>
                <a:gd name="T55" fmla="*/ 120 h 288"/>
                <a:gd name="T56" fmla="*/ 125 w 1071"/>
                <a:gd name="T57" fmla="*/ 242 h 288"/>
                <a:gd name="T58" fmla="*/ 115 w 1071"/>
                <a:gd name="T59" fmla="*/ 186 h 288"/>
                <a:gd name="T60" fmla="*/ 104 w 1071"/>
                <a:gd name="T61" fmla="*/ 244 h 288"/>
                <a:gd name="T62" fmla="*/ 332 w 1071"/>
                <a:gd name="T63" fmla="*/ 151 h 288"/>
                <a:gd name="T64" fmla="*/ 350 w 1071"/>
                <a:gd name="T65" fmla="*/ 95 h 288"/>
                <a:gd name="T66" fmla="*/ 311 w 1071"/>
                <a:gd name="T67" fmla="*/ 150 h 288"/>
                <a:gd name="T68" fmla="*/ 1071 w 1071"/>
                <a:gd name="T69" fmla="*/ 283 h 288"/>
                <a:gd name="T70" fmla="*/ 873 w 1071"/>
                <a:gd name="T71" fmla="*/ 215 h 288"/>
                <a:gd name="T72" fmla="*/ 999 w 1071"/>
                <a:gd name="T73" fmla="*/ 148 h 288"/>
                <a:gd name="T74" fmla="*/ 958 w 1071"/>
                <a:gd name="T75" fmla="*/ 99 h 288"/>
                <a:gd name="T76" fmla="*/ 893 w 1071"/>
                <a:gd name="T77" fmla="*/ 65 h 288"/>
                <a:gd name="T78" fmla="*/ 1070 w 1071"/>
                <a:gd name="T79" fmla="*/ 138 h 288"/>
                <a:gd name="T80" fmla="*/ 1071 w 1071"/>
                <a:gd name="T81" fmla="*/ 283 h 288"/>
                <a:gd name="T82" fmla="*/ 998 w 1071"/>
                <a:gd name="T83" fmla="*/ 186 h 288"/>
                <a:gd name="T84" fmla="*/ 943 w 1071"/>
                <a:gd name="T85" fmla="*/ 216 h 288"/>
                <a:gd name="T86" fmla="*/ 998 w 1071"/>
                <a:gd name="T87" fmla="*/ 242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071" h="288">
                  <a:moveTo>
                    <a:pt x="607" y="233"/>
                  </a:moveTo>
                  <a:cubicBezTo>
                    <a:pt x="610" y="283"/>
                    <a:pt x="610" y="283"/>
                    <a:pt x="610" y="283"/>
                  </a:cubicBezTo>
                  <a:cubicBezTo>
                    <a:pt x="604" y="284"/>
                    <a:pt x="587" y="288"/>
                    <a:pt x="562" y="288"/>
                  </a:cubicBezTo>
                  <a:cubicBezTo>
                    <a:pt x="513" y="288"/>
                    <a:pt x="486" y="267"/>
                    <a:pt x="486" y="216"/>
                  </a:cubicBezTo>
                  <a:cubicBezTo>
                    <a:pt x="486" y="176"/>
                    <a:pt x="487" y="132"/>
                    <a:pt x="488" y="108"/>
                  </a:cubicBezTo>
                  <a:cubicBezTo>
                    <a:pt x="462" y="108"/>
                    <a:pt x="462" y="108"/>
                    <a:pt x="462" y="108"/>
                  </a:cubicBezTo>
                  <a:cubicBezTo>
                    <a:pt x="462" y="97"/>
                    <a:pt x="462" y="82"/>
                    <a:pt x="462" y="70"/>
                  </a:cubicBezTo>
                  <a:cubicBezTo>
                    <a:pt x="500" y="64"/>
                    <a:pt x="513" y="42"/>
                    <a:pt x="518" y="0"/>
                  </a:cubicBezTo>
                  <a:cubicBezTo>
                    <a:pt x="561" y="0"/>
                    <a:pt x="561" y="0"/>
                    <a:pt x="561" y="0"/>
                  </a:cubicBezTo>
                  <a:cubicBezTo>
                    <a:pt x="559" y="17"/>
                    <a:pt x="558" y="43"/>
                    <a:pt x="558" y="60"/>
                  </a:cubicBezTo>
                  <a:cubicBezTo>
                    <a:pt x="603" y="60"/>
                    <a:pt x="603" y="60"/>
                    <a:pt x="603" y="60"/>
                  </a:cubicBezTo>
                  <a:cubicBezTo>
                    <a:pt x="603" y="108"/>
                    <a:pt x="603" y="108"/>
                    <a:pt x="603" y="108"/>
                  </a:cubicBezTo>
                  <a:cubicBezTo>
                    <a:pt x="557" y="108"/>
                    <a:pt x="557" y="108"/>
                    <a:pt x="557" y="108"/>
                  </a:cubicBezTo>
                  <a:cubicBezTo>
                    <a:pt x="557" y="195"/>
                    <a:pt x="557" y="195"/>
                    <a:pt x="557" y="195"/>
                  </a:cubicBezTo>
                  <a:cubicBezTo>
                    <a:pt x="557" y="229"/>
                    <a:pt x="564" y="238"/>
                    <a:pt x="587" y="238"/>
                  </a:cubicBezTo>
                  <a:cubicBezTo>
                    <a:pt x="594" y="238"/>
                    <a:pt x="603" y="236"/>
                    <a:pt x="607" y="233"/>
                  </a:cubicBezTo>
                  <a:close/>
                  <a:moveTo>
                    <a:pt x="844" y="179"/>
                  </a:moveTo>
                  <a:cubicBezTo>
                    <a:pt x="844" y="160"/>
                    <a:pt x="844" y="135"/>
                    <a:pt x="844" y="135"/>
                  </a:cubicBezTo>
                  <a:cubicBezTo>
                    <a:pt x="844" y="78"/>
                    <a:pt x="820" y="53"/>
                    <a:pt x="749" y="53"/>
                  </a:cubicBezTo>
                  <a:cubicBezTo>
                    <a:pt x="710" y="53"/>
                    <a:pt x="682" y="60"/>
                    <a:pt x="638" y="60"/>
                  </a:cubicBezTo>
                  <a:cubicBezTo>
                    <a:pt x="641" y="99"/>
                    <a:pt x="641" y="149"/>
                    <a:pt x="640" y="179"/>
                  </a:cubicBezTo>
                  <a:cubicBezTo>
                    <a:pt x="641" y="210"/>
                    <a:pt x="639" y="265"/>
                    <a:pt x="638" y="283"/>
                  </a:cubicBezTo>
                  <a:cubicBezTo>
                    <a:pt x="713" y="283"/>
                    <a:pt x="713" y="283"/>
                    <a:pt x="713" y="283"/>
                  </a:cubicBezTo>
                  <a:cubicBezTo>
                    <a:pt x="712" y="265"/>
                    <a:pt x="710" y="214"/>
                    <a:pt x="710" y="179"/>
                  </a:cubicBezTo>
                  <a:cubicBezTo>
                    <a:pt x="710" y="159"/>
                    <a:pt x="711" y="135"/>
                    <a:pt x="711" y="103"/>
                  </a:cubicBezTo>
                  <a:cubicBezTo>
                    <a:pt x="719" y="100"/>
                    <a:pt x="728" y="99"/>
                    <a:pt x="739" y="99"/>
                  </a:cubicBezTo>
                  <a:cubicBezTo>
                    <a:pt x="765" y="99"/>
                    <a:pt x="774" y="111"/>
                    <a:pt x="774" y="145"/>
                  </a:cubicBezTo>
                  <a:cubicBezTo>
                    <a:pt x="774" y="145"/>
                    <a:pt x="774" y="166"/>
                    <a:pt x="774" y="179"/>
                  </a:cubicBezTo>
                  <a:cubicBezTo>
                    <a:pt x="774" y="210"/>
                    <a:pt x="773" y="265"/>
                    <a:pt x="772" y="283"/>
                  </a:cubicBezTo>
                  <a:cubicBezTo>
                    <a:pt x="847" y="283"/>
                    <a:pt x="847" y="283"/>
                    <a:pt x="847" y="283"/>
                  </a:cubicBezTo>
                  <a:cubicBezTo>
                    <a:pt x="845" y="265"/>
                    <a:pt x="844" y="214"/>
                    <a:pt x="844" y="179"/>
                  </a:cubicBezTo>
                  <a:close/>
                  <a:moveTo>
                    <a:pt x="340" y="189"/>
                  </a:moveTo>
                  <a:cubicBezTo>
                    <a:pt x="332" y="189"/>
                    <a:pt x="318" y="189"/>
                    <a:pt x="311" y="188"/>
                  </a:cubicBezTo>
                  <a:cubicBezTo>
                    <a:pt x="311" y="190"/>
                    <a:pt x="311" y="190"/>
                    <a:pt x="311" y="190"/>
                  </a:cubicBezTo>
                  <a:cubicBezTo>
                    <a:pt x="311" y="222"/>
                    <a:pt x="332" y="242"/>
                    <a:pt x="371" y="242"/>
                  </a:cubicBezTo>
                  <a:cubicBezTo>
                    <a:pt x="395" y="242"/>
                    <a:pt x="416" y="235"/>
                    <a:pt x="431" y="226"/>
                  </a:cubicBezTo>
                  <a:cubicBezTo>
                    <a:pt x="434" y="276"/>
                    <a:pt x="434" y="276"/>
                    <a:pt x="434" y="276"/>
                  </a:cubicBezTo>
                  <a:cubicBezTo>
                    <a:pt x="419" y="283"/>
                    <a:pt x="389" y="288"/>
                    <a:pt x="360" y="288"/>
                  </a:cubicBezTo>
                  <a:cubicBezTo>
                    <a:pt x="281" y="288"/>
                    <a:pt x="243" y="261"/>
                    <a:pt x="237" y="188"/>
                  </a:cubicBezTo>
                  <a:cubicBezTo>
                    <a:pt x="228" y="187"/>
                    <a:pt x="214" y="187"/>
                    <a:pt x="195" y="187"/>
                  </a:cubicBezTo>
                  <a:cubicBezTo>
                    <a:pt x="195" y="200"/>
                    <a:pt x="194" y="211"/>
                    <a:pt x="194" y="220"/>
                  </a:cubicBezTo>
                  <a:cubicBezTo>
                    <a:pt x="194" y="238"/>
                    <a:pt x="195" y="265"/>
                    <a:pt x="198" y="283"/>
                  </a:cubicBezTo>
                  <a:cubicBezTo>
                    <a:pt x="154" y="283"/>
                    <a:pt x="121" y="288"/>
                    <a:pt x="87" y="288"/>
                  </a:cubicBezTo>
                  <a:cubicBezTo>
                    <a:pt x="22" y="288"/>
                    <a:pt x="0" y="261"/>
                    <a:pt x="0" y="215"/>
                  </a:cubicBezTo>
                  <a:cubicBezTo>
                    <a:pt x="0" y="171"/>
                    <a:pt x="36" y="147"/>
                    <a:pt x="115" y="147"/>
                  </a:cubicBezTo>
                  <a:cubicBezTo>
                    <a:pt x="118" y="147"/>
                    <a:pt x="123" y="147"/>
                    <a:pt x="126" y="148"/>
                  </a:cubicBezTo>
                  <a:cubicBezTo>
                    <a:pt x="126" y="143"/>
                    <a:pt x="126" y="143"/>
                    <a:pt x="126" y="143"/>
                  </a:cubicBezTo>
                  <a:cubicBezTo>
                    <a:pt x="126" y="112"/>
                    <a:pt x="116" y="99"/>
                    <a:pt x="84" y="99"/>
                  </a:cubicBezTo>
                  <a:cubicBezTo>
                    <a:pt x="62" y="99"/>
                    <a:pt x="38" y="107"/>
                    <a:pt x="23" y="115"/>
                  </a:cubicBezTo>
                  <a:cubicBezTo>
                    <a:pt x="20" y="65"/>
                    <a:pt x="20" y="65"/>
                    <a:pt x="20" y="65"/>
                  </a:cubicBezTo>
                  <a:cubicBezTo>
                    <a:pt x="38" y="58"/>
                    <a:pt x="68" y="53"/>
                    <a:pt x="102" y="53"/>
                  </a:cubicBezTo>
                  <a:cubicBezTo>
                    <a:pt x="171" y="53"/>
                    <a:pt x="197" y="75"/>
                    <a:pt x="197" y="138"/>
                  </a:cubicBezTo>
                  <a:cubicBezTo>
                    <a:pt x="197" y="141"/>
                    <a:pt x="197" y="145"/>
                    <a:pt x="197" y="148"/>
                  </a:cubicBezTo>
                  <a:cubicBezTo>
                    <a:pt x="213" y="148"/>
                    <a:pt x="226" y="149"/>
                    <a:pt x="237" y="149"/>
                  </a:cubicBezTo>
                  <a:cubicBezTo>
                    <a:pt x="244" y="87"/>
                    <a:pt x="275" y="53"/>
                    <a:pt x="352" y="53"/>
                  </a:cubicBezTo>
                  <a:cubicBezTo>
                    <a:pt x="416" y="53"/>
                    <a:pt x="445" y="80"/>
                    <a:pt x="445" y="120"/>
                  </a:cubicBezTo>
                  <a:cubicBezTo>
                    <a:pt x="445" y="167"/>
                    <a:pt x="410" y="189"/>
                    <a:pt x="340" y="189"/>
                  </a:cubicBezTo>
                  <a:close/>
                  <a:moveTo>
                    <a:pt x="125" y="242"/>
                  </a:moveTo>
                  <a:cubicBezTo>
                    <a:pt x="124" y="226"/>
                    <a:pt x="124" y="205"/>
                    <a:pt x="125" y="186"/>
                  </a:cubicBezTo>
                  <a:cubicBezTo>
                    <a:pt x="122" y="186"/>
                    <a:pt x="118" y="186"/>
                    <a:pt x="115" y="186"/>
                  </a:cubicBezTo>
                  <a:cubicBezTo>
                    <a:pt x="82" y="186"/>
                    <a:pt x="69" y="197"/>
                    <a:pt x="69" y="216"/>
                  </a:cubicBezTo>
                  <a:cubicBezTo>
                    <a:pt x="69" y="236"/>
                    <a:pt x="80" y="244"/>
                    <a:pt x="104" y="244"/>
                  </a:cubicBezTo>
                  <a:cubicBezTo>
                    <a:pt x="111" y="244"/>
                    <a:pt x="119" y="243"/>
                    <a:pt x="125" y="242"/>
                  </a:cubicBezTo>
                  <a:close/>
                  <a:moveTo>
                    <a:pt x="332" y="151"/>
                  </a:moveTo>
                  <a:cubicBezTo>
                    <a:pt x="362" y="151"/>
                    <a:pt x="377" y="141"/>
                    <a:pt x="377" y="119"/>
                  </a:cubicBezTo>
                  <a:cubicBezTo>
                    <a:pt x="377" y="103"/>
                    <a:pt x="366" y="95"/>
                    <a:pt x="350" y="95"/>
                  </a:cubicBezTo>
                  <a:cubicBezTo>
                    <a:pt x="321" y="95"/>
                    <a:pt x="311" y="118"/>
                    <a:pt x="311" y="149"/>
                  </a:cubicBezTo>
                  <a:cubicBezTo>
                    <a:pt x="311" y="150"/>
                    <a:pt x="311" y="150"/>
                    <a:pt x="311" y="150"/>
                  </a:cubicBezTo>
                  <a:cubicBezTo>
                    <a:pt x="317" y="151"/>
                    <a:pt x="325" y="151"/>
                    <a:pt x="332" y="151"/>
                  </a:cubicBezTo>
                  <a:close/>
                  <a:moveTo>
                    <a:pt x="1071" y="283"/>
                  </a:moveTo>
                  <a:cubicBezTo>
                    <a:pt x="1028" y="283"/>
                    <a:pt x="994" y="288"/>
                    <a:pt x="960" y="288"/>
                  </a:cubicBezTo>
                  <a:cubicBezTo>
                    <a:pt x="896" y="288"/>
                    <a:pt x="873" y="261"/>
                    <a:pt x="873" y="215"/>
                  </a:cubicBezTo>
                  <a:cubicBezTo>
                    <a:pt x="873" y="171"/>
                    <a:pt x="909" y="147"/>
                    <a:pt x="988" y="147"/>
                  </a:cubicBezTo>
                  <a:cubicBezTo>
                    <a:pt x="991" y="147"/>
                    <a:pt x="997" y="147"/>
                    <a:pt x="999" y="148"/>
                  </a:cubicBezTo>
                  <a:cubicBezTo>
                    <a:pt x="999" y="143"/>
                    <a:pt x="999" y="143"/>
                    <a:pt x="999" y="143"/>
                  </a:cubicBezTo>
                  <a:cubicBezTo>
                    <a:pt x="999" y="112"/>
                    <a:pt x="989" y="99"/>
                    <a:pt x="958" y="99"/>
                  </a:cubicBezTo>
                  <a:cubicBezTo>
                    <a:pt x="935" y="99"/>
                    <a:pt x="912" y="107"/>
                    <a:pt x="896" y="115"/>
                  </a:cubicBezTo>
                  <a:cubicBezTo>
                    <a:pt x="893" y="65"/>
                    <a:pt x="893" y="65"/>
                    <a:pt x="893" y="65"/>
                  </a:cubicBezTo>
                  <a:cubicBezTo>
                    <a:pt x="911" y="58"/>
                    <a:pt x="941" y="53"/>
                    <a:pt x="975" y="53"/>
                  </a:cubicBezTo>
                  <a:cubicBezTo>
                    <a:pt x="1044" y="53"/>
                    <a:pt x="1070" y="75"/>
                    <a:pt x="1070" y="138"/>
                  </a:cubicBezTo>
                  <a:cubicBezTo>
                    <a:pt x="1070" y="171"/>
                    <a:pt x="1068" y="200"/>
                    <a:pt x="1068" y="220"/>
                  </a:cubicBezTo>
                  <a:cubicBezTo>
                    <a:pt x="1068" y="238"/>
                    <a:pt x="1068" y="265"/>
                    <a:pt x="1071" y="283"/>
                  </a:cubicBezTo>
                  <a:close/>
                  <a:moveTo>
                    <a:pt x="998" y="242"/>
                  </a:moveTo>
                  <a:cubicBezTo>
                    <a:pt x="997" y="226"/>
                    <a:pt x="998" y="205"/>
                    <a:pt x="998" y="186"/>
                  </a:cubicBezTo>
                  <a:cubicBezTo>
                    <a:pt x="995" y="186"/>
                    <a:pt x="991" y="186"/>
                    <a:pt x="988" y="186"/>
                  </a:cubicBezTo>
                  <a:cubicBezTo>
                    <a:pt x="956" y="186"/>
                    <a:pt x="943" y="197"/>
                    <a:pt x="943" y="216"/>
                  </a:cubicBezTo>
                  <a:cubicBezTo>
                    <a:pt x="943" y="236"/>
                    <a:pt x="953" y="244"/>
                    <a:pt x="977" y="244"/>
                  </a:cubicBezTo>
                  <a:cubicBezTo>
                    <a:pt x="984" y="244"/>
                    <a:pt x="993" y="243"/>
                    <a:pt x="998" y="24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/>
            <p:cNvSpPr>
              <a:spLocks noChangeAspect="1" noEditPoints="1"/>
            </p:cNvSpPr>
            <p:nvPr/>
          </p:nvSpPr>
          <p:spPr bwMode="auto">
            <a:xfrm>
              <a:off x="6346127" y="6468230"/>
              <a:ext cx="24452" cy="26333"/>
            </a:xfrm>
            <a:custGeom>
              <a:avLst/>
              <a:gdLst>
                <a:gd name="T0" fmla="*/ 5 w 37"/>
                <a:gd name="T1" fmla="*/ 33 h 39"/>
                <a:gd name="T2" fmla="*/ 1 w 37"/>
                <a:gd name="T3" fmla="*/ 27 h 39"/>
                <a:gd name="T4" fmla="*/ 0 w 37"/>
                <a:gd name="T5" fmla="*/ 20 h 39"/>
                <a:gd name="T6" fmla="*/ 1 w 37"/>
                <a:gd name="T7" fmla="*/ 12 h 39"/>
                <a:gd name="T8" fmla="*/ 5 w 37"/>
                <a:gd name="T9" fmla="*/ 6 h 39"/>
                <a:gd name="T10" fmla="*/ 11 w 37"/>
                <a:gd name="T11" fmla="*/ 2 h 39"/>
                <a:gd name="T12" fmla="*/ 18 w 37"/>
                <a:gd name="T13" fmla="*/ 0 h 39"/>
                <a:gd name="T14" fmla="*/ 26 w 37"/>
                <a:gd name="T15" fmla="*/ 2 h 39"/>
                <a:gd name="T16" fmla="*/ 32 w 37"/>
                <a:gd name="T17" fmla="*/ 6 h 39"/>
                <a:gd name="T18" fmla="*/ 36 w 37"/>
                <a:gd name="T19" fmla="*/ 12 h 39"/>
                <a:gd name="T20" fmla="*/ 37 w 37"/>
                <a:gd name="T21" fmla="*/ 20 h 39"/>
                <a:gd name="T22" fmla="*/ 36 w 37"/>
                <a:gd name="T23" fmla="*/ 27 h 39"/>
                <a:gd name="T24" fmla="*/ 32 w 37"/>
                <a:gd name="T25" fmla="*/ 33 h 39"/>
                <a:gd name="T26" fmla="*/ 26 w 37"/>
                <a:gd name="T27" fmla="*/ 38 h 39"/>
                <a:gd name="T28" fmla="*/ 18 w 37"/>
                <a:gd name="T29" fmla="*/ 39 h 39"/>
                <a:gd name="T30" fmla="*/ 11 w 37"/>
                <a:gd name="T31" fmla="*/ 38 h 39"/>
                <a:gd name="T32" fmla="*/ 5 w 37"/>
                <a:gd name="T33" fmla="*/ 33 h 39"/>
                <a:gd name="T34" fmla="*/ 12 w 37"/>
                <a:gd name="T35" fmla="*/ 35 h 39"/>
                <a:gd name="T36" fmla="*/ 18 w 37"/>
                <a:gd name="T37" fmla="*/ 36 h 39"/>
                <a:gd name="T38" fmla="*/ 25 w 37"/>
                <a:gd name="T39" fmla="*/ 35 h 39"/>
                <a:gd name="T40" fmla="*/ 30 w 37"/>
                <a:gd name="T41" fmla="*/ 31 h 39"/>
                <a:gd name="T42" fmla="*/ 33 w 37"/>
                <a:gd name="T43" fmla="*/ 26 h 39"/>
                <a:gd name="T44" fmla="*/ 34 w 37"/>
                <a:gd name="T45" fmla="*/ 20 h 39"/>
                <a:gd name="T46" fmla="*/ 33 w 37"/>
                <a:gd name="T47" fmla="*/ 13 h 39"/>
                <a:gd name="T48" fmla="*/ 30 w 37"/>
                <a:gd name="T49" fmla="*/ 8 h 39"/>
                <a:gd name="T50" fmla="*/ 25 w 37"/>
                <a:gd name="T51" fmla="*/ 5 h 39"/>
                <a:gd name="T52" fmla="*/ 18 w 37"/>
                <a:gd name="T53" fmla="*/ 3 h 39"/>
                <a:gd name="T54" fmla="*/ 12 w 37"/>
                <a:gd name="T55" fmla="*/ 5 h 39"/>
                <a:gd name="T56" fmla="*/ 7 w 37"/>
                <a:gd name="T57" fmla="*/ 8 h 39"/>
                <a:gd name="T58" fmla="*/ 4 w 37"/>
                <a:gd name="T59" fmla="*/ 13 h 39"/>
                <a:gd name="T60" fmla="*/ 3 w 37"/>
                <a:gd name="T61" fmla="*/ 20 h 39"/>
                <a:gd name="T62" fmla="*/ 5 w 37"/>
                <a:gd name="T63" fmla="*/ 29 h 39"/>
                <a:gd name="T64" fmla="*/ 12 w 37"/>
                <a:gd name="T65" fmla="*/ 35 h 39"/>
                <a:gd name="T66" fmla="*/ 11 w 37"/>
                <a:gd name="T67" fmla="*/ 8 h 39"/>
                <a:gd name="T68" fmla="*/ 15 w 37"/>
                <a:gd name="T69" fmla="*/ 7 h 39"/>
                <a:gd name="T70" fmla="*/ 18 w 37"/>
                <a:gd name="T71" fmla="*/ 7 h 39"/>
                <a:gd name="T72" fmla="*/ 25 w 37"/>
                <a:gd name="T73" fmla="*/ 9 h 39"/>
                <a:gd name="T74" fmla="*/ 27 w 37"/>
                <a:gd name="T75" fmla="*/ 14 h 39"/>
                <a:gd name="T76" fmla="*/ 27 w 37"/>
                <a:gd name="T77" fmla="*/ 17 h 39"/>
                <a:gd name="T78" fmla="*/ 25 w 37"/>
                <a:gd name="T79" fmla="*/ 19 h 39"/>
                <a:gd name="T80" fmla="*/ 24 w 37"/>
                <a:gd name="T81" fmla="*/ 21 h 39"/>
                <a:gd name="T82" fmla="*/ 22 w 37"/>
                <a:gd name="T83" fmla="*/ 21 h 39"/>
                <a:gd name="T84" fmla="*/ 22 w 37"/>
                <a:gd name="T85" fmla="*/ 21 h 39"/>
                <a:gd name="T86" fmla="*/ 28 w 37"/>
                <a:gd name="T87" fmla="*/ 31 h 39"/>
                <a:gd name="T88" fmla="*/ 27 w 37"/>
                <a:gd name="T89" fmla="*/ 31 h 39"/>
                <a:gd name="T90" fmla="*/ 26 w 37"/>
                <a:gd name="T91" fmla="*/ 31 h 39"/>
                <a:gd name="T92" fmla="*/ 24 w 37"/>
                <a:gd name="T93" fmla="*/ 31 h 39"/>
                <a:gd name="T94" fmla="*/ 23 w 37"/>
                <a:gd name="T95" fmla="*/ 30 h 39"/>
                <a:gd name="T96" fmla="*/ 18 w 37"/>
                <a:gd name="T97" fmla="*/ 22 h 39"/>
                <a:gd name="T98" fmla="*/ 15 w 37"/>
                <a:gd name="T99" fmla="*/ 22 h 39"/>
                <a:gd name="T100" fmla="*/ 15 w 37"/>
                <a:gd name="T101" fmla="*/ 31 h 39"/>
                <a:gd name="T102" fmla="*/ 11 w 37"/>
                <a:gd name="T103" fmla="*/ 31 h 39"/>
                <a:gd name="T104" fmla="*/ 11 w 37"/>
                <a:gd name="T105" fmla="*/ 8 h 39"/>
                <a:gd name="T106" fmla="*/ 19 w 37"/>
                <a:gd name="T107" fmla="*/ 19 h 39"/>
                <a:gd name="T108" fmla="*/ 23 w 37"/>
                <a:gd name="T109" fmla="*/ 14 h 39"/>
                <a:gd name="T110" fmla="*/ 22 w 37"/>
                <a:gd name="T111" fmla="*/ 12 h 39"/>
                <a:gd name="T112" fmla="*/ 18 w 37"/>
                <a:gd name="T113" fmla="*/ 11 h 39"/>
                <a:gd name="T114" fmla="*/ 16 w 37"/>
                <a:gd name="T115" fmla="*/ 11 h 39"/>
                <a:gd name="T116" fmla="*/ 15 w 37"/>
                <a:gd name="T117" fmla="*/ 11 h 39"/>
                <a:gd name="T118" fmla="*/ 15 w 37"/>
                <a:gd name="T119" fmla="*/ 11 h 39"/>
                <a:gd name="T120" fmla="*/ 15 w 37"/>
                <a:gd name="T121" fmla="*/ 19 h 39"/>
                <a:gd name="T122" fmla="*/ 19 w 37"/>
                <a:gd name="T123" fmla="*/ 1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7" h="39">
                  <a:moveTo>
                    <a:pt x="5" y="33"/>
                  </a:moveTo>
                  <a:cubicBezTo>
                    <a:pt x="3" y="32"/>
                    <a:pt x="2" y="30"/>
                    <a:pt x="1" y="27"/>
                  </a:cubicBezTo>
                  <a:cubicBezTo>
                    <a:pt x="0" y="25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10"/>
                    <a:pt x="3" y="8"/>
                    <a:pt x="5" y="6"/>
                  </a:cubicBezTo>
                  <a:cubicBezTo>
                    <a:pt x="6" y="4"/>
                    <a:pt x="8" y="3"/>
                    <a:pt x="11" y="2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1" y="0"/>
                    <a:pt x="24" y="1"/>
                    <a:pt x="26" y="2"/>
                  </a:cubicBezTo>
                  <a:cubicBezTo>
                    <a:pt x="29" y="3"/>
                    <a:pt x="30" y="4"/>
                    <a:pt x="32" y="6"/>
                  </a:cubicBezTo>
                  <a:cubicBezTo>
                    <a:pt x="34" y="8"/>
                    <a:pt x="35" y="10"/>
                    <a:pt x="36" y="12"/>
                  </a:cubicBezTo>
                  <a:cubicBezTo>
                    <a:pt x="37" y="14"/>
                    <a:pt x="37" y="17"/>
                    <a:pt x="37" y="20"/>
                  </a:cubicBezTo>
                  <a:cubicBezTo>
                    <a:pt x="37" y="22"/>
                    <a:pt x="37" y="25"/>
                    <a:pt x="36" y="27"/>
                  </a:cubicBezTo>
                  <a:cubicBezTo>
                    <a:pt x="35" y="30"/>
                    <a:pt x="34" y="32"/>
                    <a:pt x="32" y="33"/>
                  </a:cubicBezTo>
                  <a:cubicBezTo>
                    <a:pt x="30" y="35"/>
                    <a:pt x="28" y="37"/>
                    <a:pt x="26" y="38"/>
                  </a:cubicBezTo>
                  <a:cubicBezTo>
                    <a:pt x="24" y="39"/>
                    <a:pt x="21" y="39"/>
                    <a:pt x="18" y="39"/>
                  </a:cubicBezTo>
                  <a:cubicBezTo>
                    <a:pt x="15" y="39"/>
                    <a:pt x="13" y="39"/>
                    <a:pt x="11" y="38"/>
                  </a:cubicBezTo>
                  <a:cubicBezTo>
                    <a:pt x="8" y="37"/>
                    <a:pt x="6" y="35"/>
                    <a:pt x="5" y="33"/>
                  </a:cubicBezTo>
                  <a:close/>
                  <a:moveTo>
                    <a:pt x="12" y="35"/>
                  </a:moveTo>
                  <a:cubicBezTo>
                    <a:pt x="14" y="36"/>
                    <a:pt x="16" y="36"/>
                    <a:pt x="18" y="36"/>
                  </a:cubicBezTo>
                  <a:cubicBezTo>
                    <a:pt x="21" y="36"/>
                    <a:pt x="23" y="36"/>
                    <a:pt x="25" y="35"/>
                  </a:cubicBezTo>
                  <a:cubicBezTo>
                    <a:pt x="27" y="34"/>
                    <a:pt x="28" y="33"/>
                    <a:pt x="30" y="31"/>
                  </a:cubicBezTo>
                  <a:cubicBezTo>
                    <a:pt x="31" y="30"/>
                    <a:pt x="32" y="28"/>
                    <a:pt x="33" y="26"/>
                  </a:cubicBezTo>
                  <a:cubicBezTo>
                    <a:pt x="33" y="24"/>
                    <a:pt x="34" y="22"/>
                    <a:pt x="34" y="20"/>
                  </a:cubicBezTo>
                  <a:cubicBezTo>
                    <a:pt x="34" y="17"/>
                    <a:pt x="33" y="15"/>
                    <a:pt x="33" y="13"/>
                  </a:cubicBezTo>
                  <a:cubicBezTo>
                    <a:pt x="32" y="11"/>
                    <a:pt x="31" y="10"/>
                    <a:pt x="30" y="8"/>
                  </a:cubicBezTo>
                  <a:cubicBezTo>
                    <a:pt x="28" y="7"/>
                    <a:pt x="27" y="5"/>
                    <a:pt x="25" y="5"/>
                  </a:cubicBezTo>
                  <a:cubicBezTo>
                    <a:pt x="23" y="4"/>
                    <a:pt x="21" y="3"/>
                    <a:pt x="18" y="3"/>
                  </a:cubicBezTo>
                  <a:cubicBezTo>
                    <a:pt x="16" y="3"/>
                    <a:pt x="14" y="4"/>
                    <a:pt x="12" y="5"/>
                  </a:cubicBezTo>
                  <a:cubicBezTo>
                    <a:pt x="10" y="5"/>
                    <a:pt x="9" y="7"/>
                    <a:pt x="7" y="8"/>
                  </a:cubicBezTo>
                  <a:cubicBezTo>
                    <a:pt x="6" y="10"/>
                    <a:pt x="5" y="11"/>
                    <a:pt x="4" y="13"/>
                  </a:cubicBezTo>
                  <a:cubicBezTo>
                    <a:pt x="4" y="15"/>
                    <a:pt x="3" y="17"/>
                    <a:pt x="3" y="20"/>
                  </a:cubicBezTo>
                  <a:cubicBezTo>
                    <a:pt x="3" y="23"/>
                    <a:pt x="4" y="26"/>
                    <a:pt x="5" y="29"/>
                  </a:cubicBezTo>
                  <a:cubicBezTo>
                    <a:pt x="7" y="31"/>
                    <a:pt x="9" y="33"/>
                    <a:pt x="12" y="35"/>
                  </a:cubicBezTo>
                  <a:close/>
                  <a:moveTo>
                    <a:pt x="11" y="8"/>
                  </a:moveTo>
                  <a:cubicBezTo>
                    <a:pt x="13" y="8"/>
                    <a:pt x="14" y="7"/>
                    <a:pt x="15" y="7"/>
                  </a:cubicBezTo>
                  <a:cubicBezTo>
                    <a:pt x="16" y="7"/>
                    <a:pt x="17" y="7"/>
                    <a:pt x="18" y="7"/>
                  </a:cubicBezTo>
                  <a:cubicBezTo>
                    <a:pt x="21" y="7"/>
                    <a:pt x="23" y="8"/>
                    <a:pt x="25" y="9"/>
                  </a:cubicBezTo>
                  <a:cubicBezTo>
                    <a:pt x="26" y="11"/>
                    <a:pt x="27" y="12"/>
                    <a:pt x="27" y="14"/>
                  </a:cubicBezTo>
                  <a:cubicBezTo>
                    <a:pt x="27" y="15"/>
                    <a:pt x="27" y="16"/>
                    <a:pt x="27" y="17"/>
                  </a:cubicBezTo>
                  <a:cubicBezTo>
                    <a:pt x="26" y="18"/>
                    <a:pt x="26" y="18"/>
                    <a:pt x="25" y="19"/>
                  </a:cubicBezTo>
                  <a:cubicBezTo>
                    <a:pt x="25" y="20"/>
                    <a:pt x="24" y="20"/>
                    <a:pt x="24" y="21"/>
                  </a:cubicBezTo>
                  <a:cubicBezTo>
                    <a:pt x="23" y="21"/>
                    <a:pt x="22" y="21"/>
                    <a:pt x="22" y="21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7" y="31"/>
                    <a:pt x="27" y="31"/>
                    <a:pt x="27" y="31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5" y="31"/>
                    <a:pt x="24" y="31"/>
                    <a:pt x="24" y="31"/>
                  </a:cubicBezTo>
                  <a:cubicBezTo>
                    <a:pt x="23" y="31"/>
                    <a:pt x="23" y="30"/>
                    <a:pt x="23" y="30"/>
                  </a:cubicBezTo>
                  <a:cubicBezTo>
                    <a:pt x="18" y="22"/>
                    <a:pt x="18" y="22"/>
                    <a:pt x="18" y="22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15" y="31"/>
                    <a:pt x="15" y="31"/>
                    <a:pt x="15" y="31"/>
                  </a:cubicBezTo>
                  <a:cubicBezTo>
                    <a:pt x="11" y="31"/>
                    <a:pt x="11" y="31"/>
                    <a:pt x="11" y="31"/>
                  </a:cubicBezTo>
                  <a:lnTo>
                    <a:pt x="11" y="8"/>
                  </a:lnTo>
                  <a:close/>
                  <a:moveTo>
                    <a:pt x="19" y="19"/>
                  </a:moveTo>
                  <a:cubicBezTo>
                    <a:pt x="22" y="19"/>
                    <a:pt x="23" y="17"/>
                    <a:pt x="23" y="14"/>
                  </a:cubicBezTo>
                  <a:cubicBezTo>
                    <a:pt x="23" y="13"/>
                    <a:pt x="23" y="12"/>
                    <a:pt x="22" y="12"/>
                  </a:cubicBezTo>
                  <a:cubicBezTo>
                    <a:pt x="21" y="11"/>
                    <a:pt x="20" y="11"/>
                    <a:pt x="18" y="11"/>
                  </a:cubicBezTo>
                  <a:cubicBezTo>
                    <a:pt x="17" y="11"/>
                    <a:pt x="17" y="11"/>
                    <a:pt x="16" y="11"/>
                  </a:cubicBezTo>
                  <a:cubicBezTo>
                    <a:pt x="16" y="11"/>
                    <a:pt x="15" y="11"/>
                    <a:pt x="15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9"/>
                    <a:pt x="15" y="19"/>
                    <a:pt x="15" y="19"/>
                  </a:cubicBezTo>
                  <a:lnTo>
                    <a:pt x="19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" name="Content Placeholder 8"/>
          <p:cNvSpPr txBox="1">
            <a:spLocks/>
          </p:cNvSpPr>
          <p:nvPr/>
        </p:nvSpPr>
        <p:spPr>
          <a:xfrm>
            <a:off x="11101516" y="6418626"/>
            <a:ext cx="734302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fld id="{38743595-4496-5147-A886-7D133864DF76}" type="slidenum">
              <a:rPr lang="en-US" sz="1000" smtClean="0">
                <a:solidFill>
                  <a:srgbClr val="3F3F3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algn="r"/>
              <a:t>‹#›</a:t>
            </a:fld>
            <a:endParaRPr lang="en-US" sz="10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" name="Content Placeholder 8"/>
          <p:cNvSpPr txBox="1">
            <a:spLocks/>
          </p:cNvSpPr>
          <p:nvPr/>
        </p:nvSpPr>
        <p:spPr>
          <a:xfrm>
            <a:off x="547779" y="6418626"/>
            <a:ext cx="2383124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dirty="0">
                <a:solidFill>
                  <a:schemeClr val="bg2"/>
                </a:solidFill>
              </a:rPr>
              <a:t>©2018 Aetna Inc.</a:t>
            </a:r>
          </a:p>
        </p:txBody>
      </p:sp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21054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9" imgW="471" imgH="470" progId="TCLayout.ActiveDocument.1">
                  <p:embed/>
                </p:oleObj>
              </mc:Choice>
              <mc:Fallback>
                <p:oleObj name="think-cell Slide" r:id="rId9" imgW="471" imgH="47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MSIPCMContentMarking" descr="{&quot;HashCode&quot;:-356254672,&quot;Placement&quot;:&quot;Footer&quot;}">
            <a:extLst>
              <a:ext uri="{FF2B5EF4-FFF2-40B4-BE49-F238E27FC236}">
                <a16:creationId xmlns:a16="http://schemas.microsoft.com/office/drawing/2014/main" id="{B869DC3D-CEDB-48B8-8C95-B8965AA1143A}"/>
              </a:ext>
            </a:extLst>
          </p:cNvPr>
          <p:cNvSpPr txBox="1"/>
          <p:nvPr userDrawn="1"/>
        </p:nvSpPr>
        <p:spPr>
          <a:xfrm>
            <a:off x="10714669" y="6413371"/>
            <a:ext cx="709159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 defTabSz="456758" fontAlgn="base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414141"/>
                </a:solidFill>
                <a:latin typeface="Calibri" panose="020F0502020204030204" pitchFamily="34" charset="0"/>
                <a:cs typeface="Open Sans Light"/>
              </a:rPr>
              <a:t>Proprietary</a:t>
            </a:r>
            <a:endParaRPr lang="en-US" sz="800" dirty="0" err="1">
              <a:solidFill>
                <a:srgbClr val="414141"/>
              </a:solidFill>
              <a:latin typeface="Calibri" panose="020F0502020204030204" pitchFamily="34" charset="0"/>
              <a:cs typeface="Open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15008381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4" r:id="rId1"/>
    <p:sldLayoutId id="2147483823" r:id="rId2"/>
    <p:sldLayoutId id="2147483827" r:id="rId3"/>
    <p:sldLayoutId id="2147483828" r:id="rId4"/>
    <p:sldLayoutId id="2147483829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i="0" kern="1200">
          <a:solidFill>
            <a:schemeClr val="accent2"/>
          </a:solidFill>
          <a:latin typeface="+mj-lt"/>
          <a:ea typeface="Open Sans" panose="020B0606030504020204" pitchFamily="34" charset="0"/>
          <a:cs typeface="Open Sans" panose="020B0606030504020204" pitchFamily="34" charset="0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0"/>
        </a:spcAft>
        <a:buClrTx/>
        <a:buFontTx/>
        <a:buNone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1pPr>
      <a:lvl2pPr marL="200025" indent="-200025" algn="l" defTabSz="914400" rtl="0" eaLnBrk="1" latinLnBrk="0" hangingPunct="1">
        <a:spcBef>
          <a:spcPts val="1200"/>
        </a:spcBef>
        <a:spcAft>
          <a:spcPts val="0"/>
        </a:spcAft>
        <a:buClrTx/>
        <a:buFont typeface="Arial" pitchFamily="34" charset="0"/>
        <a:buChar char="•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2pPr>
      <a:lvl3pPr marL="398463" indent="-200025" algn="l" defTabSz="914400" rtl="0" eaLnBrk="1" latinLnBrk="0" hangingPunct="1">
        <a:spcBef>
          <a:spcPts val="300"/>
        </a:spcBef>
        <a:spcAft>
          <a:spcPts val="0"/>
        </a:spcAft>
        <a:buClrTx/>
        <a:buFont typeface="Lucida Grande"/>
        <a:buChar char="-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3pPr>
      <a:lvl4pPr marL="622300" indent="-200025" algn="l" defTabSz="914400" rtl="0" eaLnBrk="1" latinLnBrk="0" hangingPunct="1">
        <a:spcBef>
          <a:spcPts val="300"/>
        </a:spcBef>
        <a:spcAft>
          <a:spcPts val="0"/>
        </a:spcAft>
        <a:buClrTx/>
        <a:buFont typeface="Arial" pitchFamily="34" charset="0"/>
        <a:buChar char="•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4pPr>
      <a:lvl5pPr marL="806450" indent="-182563" algn="l" defTabSz="914400" rtl="0" eaLnBrk="1" latinLnBrk="0" hangingPunct="1">
        <a:spcBef>
          <a:spcPts val="300"/>
        </a:spcBef>
        <a:spcAft>
          <a:spcPts val="0"/>
        </a:spcAft>
        <a:buClrTx/>
        <a:buFont typeface="Lucida Grande"/>
        <a:buChar char="-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0"/>
            <a:ext cx="12188825" cy="6858000"/>
          </a:xfrm>
          <a:prstGeom prst="rect">
            <a:avLst/>
          </a:prstGeom>
          <a:solidFill>
            <a:srgbClr val="064E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chemeClr val="accent2"/>
              </a:solidFill>
              <a:latin typeface="Open Sans Bold"/>
              <a:cs typeface="Open Sans Bold"/>
            </a:endParaRPr>
          </a:p>
        </p:txBody>
      </p:sp>
      <p:sp>
        <p:nvSpPr>
          <p:cNvPr id="9" name="Rectangle 8"/>
          <p:cNvSpPr>
            <a:spLocks noChangeAspect="1"/>
          </p:cNvSpPr>
          <p:nvPr/>
        </p:nvSpPr>
        <p:spPr>
          <a:xfrm>
            <a:off x="7749347" y="3429000"/>
            <a:ext cx="4439478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chemeClr val="accent4"/>
              </a:solidFill>
              <a:latin typeface="Open Sans Bold"/>
              <a:cs typeface="Open Sans Bold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833970" y="561926"/>
            <a:ext cx="5979103" cy="1903710"/>
          </a:xfrm>
          <a:prstGeom prst="rect">
            <a:avLst/>
          </a:prstGeom>
        </p:spPr>
        <p:txBody>
          <a:bodyPr lIns="0" anchor="b"/>
          <a:lstStyle/>
          <a:p>
            <a:pPr>
              <a:lnSpc>
                <a:spcPct val="85000"/>
              </a:lnSpc>
            </a:pPr>
            <a:r>
              <a:rPr lang="en-US" sz="7200" dirty="0">
                <a:solidFill>
                  <a:schemeClr val="bg1"/>
                </a:solidFill>
                <a:latin typeface="Domaine Display Bold" panose="020A0803080505060203" pitchFamily="18" charset="0"/>
                <a:cs typeface="Arial" panose="020B0604020202020204" pitchFamily="34" charset="0"/>
              </a:rPr>
              <a:t>Analytics</a:t>
            </a:r>
          </a:p>
        </p:txBody>
      </p:sp>
      <p:sp>
        <p:nvSpPr>
          <p:cNvPr id="6" name="Subtitle 5"/>
          <p:cNvSpPr>
            <a:spLocks noGrp="1"/>
          </p:cNvSpPr>
          <p:nvPr>
            <p:ph type="subTitle" idx="4294967295"/>
          </p:nvPr>
        </p:nvSpPr>
        <p:spPr>
          <a:xfrm>
            <a:off x="833970" y="3478270"/>
            <a:ext cx="6471502" cy="334962"/>
          </a:xfrm>
          <a:prstGeom prst="rect">
            <a:avLst/>
          </a:prstGeom>
        </p:spPr>
        <p:txBody>
          <a:bodyPr lIns="0"/>
          <a:lstStyle/>
          <a:p>
            <a:pPr>
              <a:lnSpc>
                <a:spcPct val="85000"/>
              </a:lnSpc>
            </a:pPr>
            <a:r>
              <a:rPr lang="en-US" sz="2400" b="1" dirty="0">
                <a:solidFill>
                  <a:schemeClr val="bg1"/>
                </a:solidFill>
              </a:rPr>
              <a:t>Manifesto</a:t>
            </a:r>
          </a:p>
        </p:txBody>
      </p:sp>
      <p:grpSp>
        <p:nvGrpSpPr>
          <p:cNvPr id="10" name="Group 9"/>
          <p:cNvGrpSpPr>
            <a:grpSpLocks noChangeAspect="1"/>
          </p:cNvGrpSpPr>
          <p:nvPr/>
        </p:nvGrpSpPr>
        <p:grpSpPr>
          <a:xfrm>
            <a:off x="10271149" y="5902241"/>
            <a:ext cx="1371600" cy="347833"/>
            <a:chOff x="5518839" y="6290820"/>
            <a:chExt cx="1249434" cy="316852"/>
          </a:xfrm>
          <a:solidFill>
            <a:schemeClr val="accent2"/>
          </a:solidFill>
        </p:grpSpPr>
        <p:sp>
          <p:nvSpPr>
            <p:cNvPr id="11" name="Freeform 5"/>
            <p:cNvSpPr>
              <a:spLocks noEditPoints="1"/>
            </p:cNvSpPr>
            <p:nvPr userDrawn="1"/>
          </p:nvSpPr>
          <p:spPr bwMode="auto">
            <a:xfrm>
              <a:off x="5518839" y="6290820"/>
              <a:ext cx="1167929" cy="316852"/>
            </a:xfrm>
            <a:custGeom>
              <a:avLst/>
              <a:gdLst>
                <a:gd name="T0" fmla="*/ 610 w 1071"/>
                <a:gd name="T1" fmla="*/ 283 h 288"/>
                <a:gd name="T2" fmla="*/ 486 w 1071"/>
                <a:gd name="T3" fmla="*/ 216 h 288"/>
                <a:gd name="T4" fmla="*/ 462 w 1071"/>
                <a:gd name="T5" fmla="*/ 108 h 288"/>
                <a:gd name="T6" fmla="*/ 518 w 1071"/>
                <a:gd name="T7" fmla="*/ 0 h 288"/>
                <a:gd name="T8" fmla="*/ 558 w 1071"/>
                <a:gd name="T9" fmla="*/ 60 h 288"/>
                <a:gd name="T10" fmla="*/ 603 w 1071"/>
                <a:gd name="T11" fmla="*/ 108 h 288"/>
                <a:gd name="T12" fmla="*/ 557 w 1071"/>
                <a:gd name="T13" fmla="*/ 195 h 288"/>
                <a:gd name="T14" fmla="*/ 607 w 1071"/>
                <a:gd name="T15" fmla="*/ 233 h 288"/>
                <a:gd name="T16" fmla="*/ 844 w 1071"/>
                <a:gd name="T17" fmla="*/ 135 h 288"/>
                <a:gd name="T18" fmla="*/ 638 w 1071"/>
                <a:gd name="T19" fmla="*/ 60 h 288"/>
                <a:gd name="T20" fmla="*/ 638 w 1071"/>
                <a:gd name="T21" fmla="*/ 283 h 288"/>
                <a:gd name="T22" fmla="*/ 710 w 1071"/>
                <a:gd name="T23" fmla="*/ 179 h 288"/>
                <a:gd name="T24" fmla="*/ 739 w 1071"/>
                <a:gd name="T25" fmla="*/ 99 h 288"/>
                <a:gd name="T26" fmla="*/ 774 w 1071"/>
                <a:gd name="T27" fmla="*/ 179 h 288"/>
                <a:gd name="T28" fmla="*/ 847 w 1071"/>
                <a:gd name="T29" fmla="*/ 283 h 288"/>
                <a:gd name="T30" fmla="*/ 340 w 1071"/>
                <a:gd name="T31" fmla="*/ 189 h 288"/>
                <a:gd name="T32" fmla="*/ 311 w 1071"/>
                <a:gd name="T33" fmla="*/ 190 h 288"/>
                <a:gd name="T34" fmla="*/ 431 w 1071"/>
                <a:gd name="T35" fmla="*/ 226 h 288"/>
                <a:gd name="T36" fmla="*/ 360 w 1071"/>
                <a:gd name="T37" fmla="*/ 288 h 288"/>
                <a:gd name="T38" fmla="*/ 195 w 1071"/>
                <a:gd name="T39" fmla="*/ 187 h 288"/>
                <a:gd name="T40" fmla="*/ 198 w 1071"/>
                <a:gd name="T41" fmla="*/ 283 h 288"/>
                <a:gd name="T42" fmla="*/ 0 w 1071"/>
                <a:gd name="T43" fmla="*/ 215 h 288"/>
                <a:gd name="T44" fmla="*/ 126 w 1071"/>
                <a:gd name="T45" fmla="*/ 148 h 288"/>
                <a:gd name="T46" fmla="*/ 84 w 1071"/>
                <a:gd name="T47" fmla="*/ 99 h 288"/>
                <a:gd name="T48" fmla="*/ 20 w 1071"/>
                <a:gd name="T49" fmla="*/ 65 h 288"/>
                <a:gd name="T50" fmla="*/ 197 w 1071"/>
                <a:gd name="T51" fmla="*/ 138 h 288"/>
                <a:gd name="T52" fmla="*/ 237 w 1071"/>
                <a:gd name="T53" fmla="*/ 149 h 288"/>
                <a:gd name="T54" fmla="*/ 445 w 1071"/>
                <a:gd name="T55" fmla="*/ 120 h 288"/>
                <a:gd name="T56" fmla="*/ 125 w 1071"/>
                <a:gd name="T57" fmla="*/ 242 h 288"/>
                <a:gd name="T58" fmla="*/ 115 w 1071"/>
                <a:gd name="T59" fmla="*/ 186 h 288"/>
                <a:gd name="T60" fmla="*/ 104 w 1071"/>
                <a:gd name="T61" fmla="*/ 244 h 288"/>
                <a:gd name="T62" fmla="*/ 332 w 1071"/>
                <a:gd name="T63" fmla="*/ 151 h 288"/>
                <a:gd name="T64" fmla="*/ 350 w 1071"/>
                <a:gd name="T65" fmla="*/ 95 h 288"/>
                <a:gd name="T66" fmla="*/ 311 w 1071"/>
                <a:gd name="T67" fmla="*/ 150 h 288"/>
                <a:gd name="T68" fmla="*/ 1071 w 1071"/>
                <a:gd name="T69" fmla="*/ 283 h 288"/>
                <a:gd name="T70" fmla="*/ 873 w 1071"/>
                <a:gd name="T71" fmla="*/ 215 h 288"/>
                <a:gd name="T72" fmla="*/ 999 w 1071"/>
                <a:gd name="T73" fmla="*/ 148 h 288"/>
                <a:gd name="T74" fmla="*/ 958 w 1071"/>
                <a:gd name="T75" fmla="*/ 99 h 288"/>
                <a:gd name="T76" fmla="*/ 893 w 1071"/>
                <a:gd name="T77" fmla="*/ 65 h 288"/>
                <a:gd name="T78" fmla="*/ 1070 w 1071"/>
                <a:gd name="T79" fmla="*/ 138 h 288"/>
                <a:gd name="T80" fmla="*/ 1071 w 1071"/>
                <a:gd name="T81" fmla="*/ 283 h 288"/>
                <a:gd name="T82" fmla="*/ 998 w 1071"/>
                <a:gd name="T83" fmla="*/ 186 h 288"/>
                <a:gd name="T84" fmla="*/ 943 w 1071"/>
                <a:gd name="T85" fmla="*/ 216 h 288"/>
                <a:gd name="T86" fmla="*/ 998 w 1071"/>
                <a:gd name="T87" fmla="*/ 242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071" h="288">
                  <a:moveTo>
                    <a:pt x="607" y="233"/>
                  </a:moveTo>
                  <a:cubicBezTo>
                    <a:pt x="610" y="283"/>
                    <a:pt x="610" y="283"/>
                    <a:pt x="610" y="283"/>
                  </a:cubicBezTo>
                  <a:cubicBezTo>
                    <a:pt x="604" y="284"/>
                    <a:pt x="587" y="288"/>
                    <a:pt x="562" y="288"/>
                  </a:cubicBezTo>
                  <a:cubicBezTo>
                    <a:pt x="513" y="288"/>
                    <a:pt x="486" y="267"/>
                    <a:pt x="486" y="216"/>
                  </a:cubicBezTo>
                  <a:cubicBezTo>
                    <a:pt x="486" y="176"/>
                    <a:pt x="487" y="132"/>
                    <a:pt x="488" y="108"/>
                  </a:cubicBezTo>
                  <a:cubicBezTo>
                    <a:pt x="462" y="108"/>
                    <a:pt x="462" y="108"/>
                    <a:pt x="462" y="108"/>
                  </a:cubicBezTo>
                  <a:cubicBezTo>
                    <a:pt x="462" y="97"/>
                    <a:pt x="462" y="82"/>
                    <a:pt x="462" y="70"/>
                  </a:cubicBezTo>
                  <a:cubicBezTo>
                    <a:pt x="500" y="64"/>
                    <a:pt x="513" y="42"/>
                    <a:pt x="518" y="0"/>
                  </a:cubicBezTo>
                  <a:cubicBezTo>
                    <a:pt x="561" y="0"/>
                    <a:pt x="561" y="0"/>
                    <a:pt x="561" y="0"/>
                  </a:cubicBezTo>
                  <a:cubicBezTo>
                    <a:pt x="559" y="17"/>
                    <a:pt x="558" y="43"/>
                    <a:pt x="558" y="60"/>
                  </a:cubicBezTo>
                  <a:cubicBezTo>
                    <a:pt x="603" y="60"/>
                    <a:pt x="603" y="60"/>
                    <a:pt x="603" y="60"/>
                  </a:cubicBezTo>
                  <a:cubicBezTo>
                    <a:pt x="603" y="108"/>
                    <a:pt x="603" y="108"/>
                    <a:pt x="603" y="108"/>
                  </a:cubicBezTo>
                  <a:cubicBezTo>
                    <a:pt x="557" y="108"/>
                    <a:pt x="557" y="108"/>
                    <a:pt x="557" y="108"/>
                  </a:cubicBezTo>
                  <a:cubicBezTo>
                    <a:pt x="557" y="195"/>
                    <a:pt x="557" y="195"/>
                    <a:pt x="557" y="195"/>
                  </a:cubicBezTo>
                  <a:cubicBezTo>
                    <a:pt x="557" y="229"/>
                    <a:pt x="564" y="238"/>
                    <a:pt x="587" y="238"/>
                  </a:cubicBezTo>
                  <a:cubicBezTo>
                    <a:pt x="594" y="238"/>
                    <a:pt x="603" y="236"/>
                    <a:pt x="607" y="233"/>
                  </a:cubicBezTo>
                  <a:close/>
                  <a:moveTo>
                    <a:pt x="844" y="179"/>
                  </a:moveTo>
                  <a:cubicBezTo>
                    <a:pt x="844" y="160"/>
                    <a:pt x="844" y="135"/>
                    <a:pt x="844" y="135"/>
                  </a:cubicBezTo>
                  <a:cubicBezTo>
                    <a:pt x="844" y="78"/>
                    <a:pt x="820" y="53"/>
                    <a:pt x="749" y="53"/>
                  </a:cubicBezTo>
                  <a:cubicBezTo>
                    <a:pt x="710" y="53"/>
                    <a:pt x="682" y="60"/>
                    <a:pt x="638" y="60"/>
                  </a:cubicBezTo>
                  <a:cubicBezTo>
                    <a:pt x="641" y="99"/>
                    <a:pt x="641" y="149"/>
                    <a:pt x="640" y="179"/>
                  </a:cubicBezTo>
                  <a:cubicBezTo>
                    <a:pt x="641" y="210"/>
                    <a:pt x="639" y="265"/>
                    <a:pt x="638" y="283"/>
                  </a:cubicBezTo>
                  <a:cubicBezTo>
                    <a:pt x="713" y="283"/>
                    <a:pt x="713" y="283"/>
                    <a:pt x="713" y="283"/>
                  </a:cubicBezTo>
                  <a:cubicBezTo>
                    <a:pt x="712" y="265"/>
                    <a:pt x="710" y="214"/>
                    <a:pt x="710" y="179"/>
                  </a:cubicBezTo>
                  <a:cubicBezTo>
                    <a:pt x="710" y="159"/>
                    <a:pt x="711" y="135"/>
                    <a:pt x="711" y="103"/>
                  </a:cubicBezTo>
                  <a:cubicBezTo>
                    <a:pt x="719" y="100"/>
                    <a:pt x="728" y="99"/>
                    <a:pt x="739" y="99"/>
                  </a:cubicBezTo>
                  <a:cubicBezTo>
                    <a:pt x="765" y="99"/>
                    <a:pt x="774" y="111"/>
                    <a:pt x="774" y="145"/>
                  </a:cubicBezTo>
                  <a:cubicBezTo>
                    <a:pt x="774" y="145"/>
                    <a:pt x="774" y="166"/>
                    <a:pt x="774" y="179"/>
                  </a:cubicBezTo>
                  <a:cubicBezTo>
                    <a:pt x="774" y="210"/>
                    <a:pt x="773" y="265"/>
                    <a:pt x="772" y="283"/>
                  </a:cubicBezTo>
                  <a:cubicBezTo>
                    <a:pt x="847" y="283"/>
                    <a:pt x="847" y="283"/>
                    <a:pt x="847" y="283"/>
                  </a:cubicBezTo>
                  <a:cubicBezTo>
                    <a:pt x="845" y="265"/>
                    <a:pt x="844" y="214"/>
                    <a:pt x="844" y="179"/>
                  </a:cubicBezTo>
                  <a:close/>
                  <a:moveTo>
                    <a:pt x="340" y="189"/>
                  </a:moveTo>
                  <a:cubicBezTo>
                    <a:pt x="332" y="189"/>
                    <a:pt x="318" y="189"/>
                    <a:pt x="311" y="188"/>
                  </a:cubicBezTo>
                  <a:cubicBezTo>
                    <a:pt x="311" y="190"/>
                    <a:pt x="311" y="190"/>
                    <a:pt x="311" y="190"/>
                  </a:cubicBezTo>
                  <a:cubicBezTo>
                    <a:pt x="311" y="222"/>
                    <a:pt x="332" y="242"/>
                    <a:pt x="371" y="242"/>
                  </a:cubicBezTo>
                  <a:cubicBezTo>
                    <a:pt x="395" y="242"/>
                    <a:pt x="416" y="235"/>
                    <a:pt x="431" y="226"/>
                  </a:cubicBezTo>
                  <a:cubicBezTo>
                    <a:pt x="434" y="276"/>
                    <a:pt x="434" y="276"/>
                    <a:pt x="434" y="276"/>
                  </a:cubicBezTo>
                  <a:cubicBezTo>
                    <a:pt x="419" y="283"/>
                    <a:pt x="389" y="288"/>
                    <a:pt x="360" y="288"/>
                  </a:cubicBezTo>
                  <a:cubicBezTo>
                    <a:pt x="281" y="288"/>
                    <a:pt x="243" y="261"/>
                    <a:pt x="237" y="188"/>
                  </a:cubicBezTo>
                  <a:cubicBezTo>
                    <a:pt x="228" y="187"/>
                    <a:pt x="214" y="187"/>
                    <a:pt x="195" y="187"/>
                  </a:cubicBezTo>
                  <a:cubicBezTo>
                    <a:pt x="195" y="200"/>
                    <a:pt x="194" y="211"/>
                    <a:pt x="194" y="220"/>
                  </a:cubicBezTo>
                  <a:cubicBezTo>
                    <a:pt x="194" y="238"/>
                    <a:pt x="195" y="265"/>
                    <a:pt x="198" y="283"/>
                  </a:cubicBezTo>
                  <a:cubicBezTo>
                    <a:pt x="154" y="283"/>
                    <a:pt x="121" y="288"/>
                    <a:pt x="87" y="288"/>
                  </a:cubicBezTo>
                  <a:cubicBezTo>
                    <a:pt x="22" y="288"/>
                    <a:pt x="0" y="261"/>
                    <a:pt x="0" y="215"/>
                  </a:cubicBezTo>
                  <a:cubicBezTo>
                    <a:pt x="0" y="171"/>
                    <a:pt x="36" y="147"/>
                    <a:pt x="115" y="147"/>
                  </a:cubicBezTo>
                  <a:cubicBezTo>
                    <a:pt x="118" y="147"/>
                    <a:pt x="123" y="147"/>
                    <a:pt x="126" y="148"/>
                  </a:cubicBezTo>
                  <a:cubicBezTo>
                    <a:pt x="126" y="143"/>
                    <a:pt x="126" y="143"/>
                    <a:pt x="126" y="143"/>
                  </a:cubicBezTo>
                  <a:cubicBezTo>
                    <a:pt x="126" y="112"/>
                    <a:pt x="116" y="99"/>
                    <a:pt x="84" y="99"/>
                  </a:cubicBezTo>
                  <a:cubicBezTo>
                    <a:pt x="62" y="99"/>
                    <a:pt x="38" y="107"/>
                    <a:pt x="23" y="115"/>
                  </a:cubicBezTo>
                  <a:cubicBezTo>
                    <a:pt x="20" y="65"/>
                    <a:pt x="20" y="65"/>
                    <a:pt x="20" y="65"/>
                  </a:cubicBezTo>
                  <a:cubicBezTo>
                    <a:pt x="38" y="58"/>
                    <a:pt x="68" y="53"/>
                    <a:pt x="102" y="53"/>
                  </a:cubicBezTo>
                  <a:cubicBezTo>
                    <a:pt x="171" y="53"/>
                    <a:pt x="197" y="75"/>
                    <a:pt x="197" y="138"/>
                  </a:cubicBezTo>
                  <a:cubicBezTo>
                    <a:pt x="197" y="141"/>
                    <a:pt x="197" y="145"/>
                    <a:pt x="197" y="148"/>
                  </a:cubicBezTo>
                  <a:cubicBezTo>
                    <a:pt x="213" y="148"/>
                    <a:pt x="226" y="149"/>
                    <a:pt x="237" y="149"/>
                  </a:cubicBezTo>
                  <a:cubicBezTo>
                    <a:pt x="244" y="87"/>
                    <a:pt x="275" y="53"/>
                    <a:pt x="352" y="53"/>
                  </a:cubicBezTo>
                  <a:cubicBezTo>
                    <a:pt x="416" y="53"/>
                    <a:pt x="445" y="80"/>
                    <a:pt x="445" y="120"/>
                  </a:cubicBezTo>
                  <a:cubicBezTo>
                    <a:pt x="445" y="167"/>
                    <a:pt x="410" y="189"/>
                    <a:pt x="340" y="189"/>
                  </a:cubicBezTo>
                  <a:close/>
                  <a:moveTo>
                    <a:pt x="125" y="242"/>
                  </a:moveTo>
                  <a:cubicBezTo>
                    <a:pt x="124" y="226"/>
                    <a:pt x="124" y="205"/>
                    <a:pt x="125" y="186"/>
                  </a:cubicBezTo>
                  <a:cubicBezTo>
                    <a:pt x="122" y="186"/>
                    <a:pt x="118" y="186"/>
                    <a:pt x="115" y="186"/>
                  </a:cubicBezTo>
                  <a:cubicBezTo>
                    <a:pt x="82" y="186"/>
                    <a:pt x="69" y="197"/>
                    <a:pt x="69" y="216"/>
                  </a:cubicBezTo>
                  <a:cubicBezTo>
                    <a:pt x="69" y="236"/>
                    <a:pt x="80" y="244"/>
                    <a:pt x="104" y="244"/>
                  </a:cubicBezTo>
                  <a:cubicBezTo>
                    <a:pt x="111" y="244"/>
                    <a:pt x="119" y="243"/>
                    <a:pt x="125" y="242"/>
                  </a:cubicBezTo>
                  <a:close/>
                  <a:moveTo>
                    <a:pt x="332" y="151"/>
                  </a:moveTo>
                  <a:cubicBezTo>
                    <a:pt x="362" y="151"/>
                    <a:pt x="377" y="141"/>
                    <a:pt x="377" y="119"/>
                  </a:cubicBezTo>
                  <a:cubicBezTo>
                    <a:pt x="377" y="103"/>
                    <a:pt x="366" y="95"/>
                    <a:pt x="350" y="95"/>
                  </a:cubicBezTo>
                  <a:cubicBezTo>
                    <a:pt x="321" y="95"/>
                    <a:pt x="311" y="118"/>
                    <a:pt x="311" y="149"/>
                  </a:cubicBezTo>
                  <a:cubicBezTo>
                    <a:pt x="311" y="150"/>
                    <a:pt x="311" y="150"/>
                    <a:pt x="311" y="150"/>
                  </a:cubicBezTo>
                  <a:cubicBezTo>
                    <a:pt x="317" y="151"/>
                    <a:pt x="325" y="151"/>
                    <a:pt x="332" y="151"/>
                  </a:cubicBezTo>
                  <a:close/>
                  <a:moveTo>
                    <a:pt x="1071" y="283"/>
                  </a:moveTo>
                  <a:cubicBezTo>
                    <a:pt x="1028" y="283"/>
                    <a:pt x="994" y="288"/>
                    <a:pt x="960" y="288"/>
                  </a:cubicBezTo>
                  <a:cubicBezTo>
                    <a:pt x="896" y="288"/>
                    <a:pt x="873" y="261"/>
                    <a:pt x="873" y="215"/>
                  </a:cubicBezTo>
                  <a:cubicBezTo>
                    <a:pt x="873" y="171"/>
                    <a:pt x="909" y="147"/>
                    <a:pt x="988" y="147"/>
                  </a:cubicBezTo>
                  <a:cubicBezTo>
                    <a:pt x="991" y="147"/>
                    <a:pt x="997" y="147"/>
                    <a:pt x="999" y="148"/>
                  </a:cubicBezTo>
                  <a:cubicBezTo>
                    <a:pt x="999" y="143"/>
                    <a:pt x="999" y="143"/>
                    <a:pt x="999" y="143"/>
                  </a:cubicBezTo>
                  <a:cubicBezTo>
                    <a:pt x="999" y="112"/>
                    <a:pt x="989" y="99"/>
                    <a:pt x="958" y="99"/>
                  </a:cubicBezTo>
                  <a:cubicBezTo>
                    <a:pt x="935" y="99"/>
                    <a:pt x="912" y="107"/>
                    <a:pt x="896" y="115"/>
                  </a:cubicBezTo>
                  <a:cubicBezTo>
                    <a:pt x="893" y="65"/>
                    <a:pt x="893" y="65"/>
                    <a:pt x="893" y="65"/>
                  </a:cubicBezTo>
                  <a:cubicBezTo>
                    <a:pt x="911" y="58"/>
                    <a:pt x="941" y="53"/>
                    <a:pt x="975" y="53"/>
                  </a:cubicBezTo>
                  <a:cubicBezTo>
                    <a:pt x="1044" y="53"/>
                    <a:pt x="1070" y="75"/>
                    <a:pt x="1070" y="138"/>
                  </a:cubicBezTo>
                  <a:cubicBezTo>
                    <a:pt x="1070" y="171"/>
                    <a:pt x="1068" y="200"/>
                    <a:pt x="1068" y="220"/>
                  </a:cubicBezTo>
                  <a:cubicBezTo>
                    <a:pt x="1068" y="238"/>
                    <a:pt x="1068" y="265"/>
                    <a:pt x="1071" y="283"/>
                  </a:cubicBezTo>
                  <a:close/>
                  <a:moveTo>
                    <a:pt x="998" y="242"/>
                  </a:moveTo>
                  <a:cubicBezTo>
                    <a:pt x="997" y="226"/>
                    <a:pt x="998" y="205"/>
                    <a:pt x="998" y="186"/>
                  </a:cubicBezTo>
                  <a:cubicBezTo>
                    <a:pt x="995" y="186"/>
                    <a:pt x="991" y="186"/>
                    <a:pt x="988" y="186"/>
                  </a:cubicBezTo>
                  <a:cubicBezTo>
                    <a:pt x="956" y="186"/>
                    <a:pt x="943" y="197"/>
                    <a:pt x="943" y="216"/>
                  </a:cubicBezTo>
                  <a:cubicBezTo>
                    <a:pt x="943" y="236"/>
                    <a:pt x="953" y="244"/>
                    <a:pt x="977" y="244"/>
                  </a:cubicBezTo>
                  <a:cubicBezTo>
                    <a:pt x="984" y="244"/>
                    <a:pt x="993" y="243"/>
                    <a:pt x="998" y="24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6"/>
            <p:cNvSpPr>
              <a:spLocks noEditPoints="1"/>
            </p:cNvSpPr>
            <p:nvPr userDrawn="1"/>
          </p:nvSpPr>
          <p:spPr bwMode="auto">
            <a:xfrm>
              <a:off x="6699791" y="6340239"/>
              <a:ext cx="68482" cy="73152"/>
            </a:xfrm>
            <a:custGeom>
              <a:avLst/>
              <a:gdLst>
                <a:gd name="T0" fmla="*/ 5 w 37"/>
                <a:gd name="T1" fmla="*/ 33 h 39"/>
                <a:gd name="T2" fmla="*/ 1 w 37"/>
                <a:gd name="T3" fmla="*/ 27 h 39"/>
                <a:gd name="T4" fmla="*/ 0 w 37"/>
                <a:gd name="T5" fmla="*/ 20 h 39"/>
                <a:gd name="T6" fmla="*/ 1 w 37"/>
                <a:gd name="T7" fmla="*/ 12 h 39"/>
                <a:gd name="T8" fmla="*/ 5 w 37"/>
                <a:gd name="T9" fmla="*/ 6 h 39"/>
                <a:gd name="T10" fmla="*/ 11 w 37"/>
                <a:gd name="T11" fmla="*/ 2 h 39"/>
                <a:gd name="T12" fmla="*/ 18 w 37"/>
                <a:gd name="T13" fmla="*/ 0 h 39"/>
                <a:gd name="T14" fmla="*/ 26 w 37"/>
                <a:gd name="T15" fmla="*/ 2 h 39"/>
                <a:gd name="T16" fmla="*/ 32 w 37"/>
                <a:gd name="T17" fmla="*/ 6 h 39"/>
                <a:gd name="T18" fmla="*/ 36 w 37"/>
                <a:gd name="T19" fmla="*/ 12 h 39"/>
                <a:gd name="T20" fmla="*/ 37 w 37"/>
                <a:gd name="T21" fmla="*/ 20 h 39"/>
                <a:gd name="T22" fmla="*/ 36 w 37"/>
                <a:gd name="T23" fmla="*/ 27 h 39"/>
                <a:gd name="T24" fmla="*/ 32 w 37"/>
                <a:gd name="T25" fmla="*/ 33 h 39"/>
                <a:gd name="T26" fmla="*/ 26 w 37"/>
                <a:gd name="T27" fmla="*/ 38 h 39"/>
                <a:gd name="T28" fmla="*/ 18 w 37"/>
                <a:gd name="T29" fmla="*/ 39 h 39"/>
                <a:gd name="T30" fmla="*/ 11 w 37"/>
                <a:gd name="T31" fmla="*/ 38 h 39"/>
                <a:gd name="T32" fmla="*/ 5 w 37"/>
                <a:gd name="T33" fmla="*/ 33 h 39"/>
                <a:gd name="T34" fmla="*/ 12 w 37"/>
                <a:gd name="T35" fmla="*/ 35 h 39"/>
                <a:gd name="T36" fmla="*/ 18 w 37"/>
                <a:gd name="T37" fmla="*/ 36 h 39"/>
                <a:gd name="T38" fmla="*/ 25 w 37"/>
                <a:gd name="T39" fmla="*/ 35 h 39"/>
                <a:gd name="T40" fmla="*/ 30 w 37"/>
                <a:gd name="T41" fmla="*/ 31 h 39"/>
                <a:gd name="T42" fmla="*/ 33 w 37"/>
                <a:gd name="T43" fmla="*/ 26 h 39"/>
                <a:gd name="T44" fmla="*/ 34 w 37"/>
                <a:gd name="T45" fmla="*/ 20 h 39"/>
                <a:gd name="T46" fmla="*/ 33 w 37"/>
                <a:gd name="T47" fmla="*/ 13 h 39"/>
                <a:gd name="T48" fmla="*/ 30 w 37"/>
                <a:gd name="T49" fmla="*/ 8 h 39"/>
                <a:gd name="T50" fmla="*/ 25 w 37"/>
                <a:gd name="T51" fmla="*/ 5 h 39"/>
                <a:gd name="T52" fmla="*/ 18 w 37"/>
                <a:gd name="T53" fmla="*/ 3 h 39"/>
                <a:gd name="T54" fmla="*/ 12 w 37"/>
                <a:gd name="T55" fmla="*/ 5 h 39"/>
                <a:gd name="T56" fmla="*/ 7 w 37"/>
                <a:gd name="T57" fmla="*/ 8 h 39"/>
                <a:gd name="T58" fmla="*/ 4 w 37"/>
                <a:gd name="T59" fmla="*/ 13 h 39"/>
                <a:gd name="T60" fmla="*/ 3 w 37"/>
                <a:gd name="T61" fmla="*/ 20 h 39"/>
                <a:gd name="T62" fmla="*/ 5 w 37"/>
                <a:gd name="T63" fmla="*/ 29 h 39"/>
                <a:gd name="T64" fmla="*/ 12 w 37"/>
                <a:gd name="T65" fmla="*/ 35 h 39"/>
                <a:gd name="T66" fmla="*/ 11 w 37"/>
                <a:gd name="T67" fmla="*/ 8 h 39"/>
                <a:gd name="T68" fmla="*/ 15 w 37"/>
                <a:gd name="T69" fmla="*/ 7 h 39"/>
                <a:gd name="T70" fmla="*/ 18 w 37"/>
                <a:gd name="T71" fmla="*/ 7 h 39"/>
                <a:gd name="T72" fmla="*/ 25 w 37"/>
                <a:gd name="T73" fmla="*/ 9 h 39"/>
                <a:gd name="T74" fmla="*/ 27 w 37"/>
                <a:gd name="T75" fmla="*/ 14 h 39"/>
                <a:gd name="T76" fmla="*/ 27 w 37"/>
                <a:gd name="T77" fmla="*/ 17 h 39"/>
                <a:gd name="T78" fmla="*/ 25 w 37"/>
                <a:gd name="T79" fmla="*/ 19 h 39"/>
                <a:gd name="T80" fmla="*/ 24 w 37"/>
                <a:gd name="T81" fmla="*/ 21 h 39"/>
                <a:gd name="T82" fmla="*/ 22 w 37"/>
                <a:gd name="T83" fmla="*/ 21 h 39"/>
                <a:gd name="T84" fmla="*/ 22 w 37"/>
                <a:gd name="T85" fmla="*/ 21 h 39"/>
                <a:gd name="T86" fmla="*/ 28 w 37"/>
                <a:gd name="T87" fmla="*/ 31 h 39"/>
                <a:gd name="T88" fmla="*/ 27 w 37"/>
                <a:gd name="T89" fmla="*/ 31 h 39"/>
                <a:gd name="T90" fmla="*/ 26 w 37"/>
                <a:gd name="T91" fmla="*/ 31 h 39"/>
                <a:gd name="T92" fmla="*/ 24 w 37"/>
                <a:gd name="T93" fmla="*/ 31 h 39"/>
                <a:gd name="T94" fmla="*/ 23 w 37"/>
                <a:gd name="T95" fmla="*/ 30 h 39"/>
                <a:gd name="T96" fmla="*/ 18 w 37"/>
                <a:gd name="T97" fmla="*/ 22 h 39"/>
                <a:gd name="T98" fmla="*/ 15 w 37"/>
                <a:gd name="T99" fmla="*/ 22 h 39"/>
                <a:gd name="T100" fmla="*/ 15 w 37"/>
                <a:gd name="T101" fmla="*/ 31 h 39"/>
                <a:gd name="T102" fmla="*/ 11 w 37"/>
                <a:gd name="T103" fmla="*/ 31 h 39"/>
                <a:gd name="T104" fmla="*/ 11 w 37"/>
                <a:gd name="T105" fmla="*/ 8 h 39"/>
                <a:gd name="T106" fmla="*/ 19 w 37"/>
                <a:gd name="T107" fmla="*/ 19 h 39"/>
                <a:gd name="T108" fmla="*/ 23 w 37"/>
                <a:gd name="T109" fmla="*/ 14 h 39"/>
                <a:gd name="T110" fmla="*/ 22 w 37"/>
                <a:gd name="T111" fmla="*/ 12 h 39"/>
                <a:gd name="T112" fmla="*/ 18 w 37"/>
                <a:gd name="T113" fmla="*/ 11 h 39"/>
                <a:gd name="T114" fmla="*/ 16 w 37"/>
                <a:gd name="T115" fmla="*/ 11 h 39"/>
                <a:gd name="T116" fmla="*/ 15 w 37"/>
                <a:gd name="T117" fmla="*/ 11 h 39"/>
                <a:gd name="T118" fmla="*/ 15 w 37"/>
                <a:gd name="T119" fmla="*/ 11 h 39"/>
                <a:gd name="T120" fmla="*/ 15 w 37"/>
                <a:gd name="T121" fmla="*/ 19 h 39"/>
                <a:gd name="T122" fmla="*/ 19 w 37"/>
                <a:gd name="T123" fmla="*/ 1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7" h="39">
                  <a:moveTo>
                    <a:pt x="5" y="33"/>
                  </a:moveTo>
                  <a:cubicBezTo>
                    <a:pt x="3" y="32"/>
                    <a:pt x="2" y="30"/>
                    <a:pt x="1" y="27"/>
                  </a:cubicBezTo>
                  <a:cubicBezTo>
                    <a:pt x="0" y="25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10"/>
                    <a:pt x="3" y="8"/>
                    <a:pt x="5" y="6"/>
                  </a:cubicBezTo>
                  <a:cubicBezTo>
                    <a:pt x="6" y="4"/>
                    <a:pt x="8" y="3"/>
                    <a:pt x="11" y="2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1" y="0"/>
                    <a:pt x="24" y="1"/>
                    <a:pt x="26" y="2"/>
                  </a:cubicBezTo>
                  <a:cubicBezTo>
                    <a:pt x="29" y="3"/>
                    <a:pt x="30" y="4"/>
                    <a:pt x="32" y="6"/>
                  </a:cubicBezTo>
                  <a:cubicBezTo>
                    <a:pt x="34" y="8"/>
                    <a:pt x="35" y="10"/>
                    <a:pt x="36" y="12"/>
                  </a:cubicBezTo>
                  <a:cubicBezTo>
                    <a:pt x="37" y="14"/>
                    <a:pt x="37" y="17"/>
                    <a:pt x="37" y="20"/>
                  </a:cubicBezTo>
                  <a:cubicBezTo>
                    <a:pt x="37" y="22"/>
                    <a:pt x="37" y="25"/>
                    <a:pt x="36" y="27"/>
                  </a:cubicBezTo>
                  <a:cubicBezTo>
                    <a:pt x="35" y="30"/>
                    <a:pt x="34" y="32"/>
                    <a:pt x="32" y="33"/>
                  </a:cubicBezTo>
                  <a:cubicBezTo>
                    <a:pt x="30" y="35"/>
                    <a:pt x="28" y="37"/>
                    <a:pt x="26" y="38"/>
                  </a:cubicBezTo>
                  <a:cubicBezTo>
                    <a:pt x="24" y="39"/>
                    <a:pt x="21" y="39"/>
                    <a:pt x="18" y="39"/>
                  </a:cubicBezTo>
                  <a:cubicBezTo>
                    <a:pt x="15" y="39"/>
                    <a:pt x="13" y="39"/>
                    <a:pt x="11" y="38"/>
                  </a:cubicBezTo>
                  <a:cubicBezTo>
                    <a:pt x="8" y="37"/>
                    <a:pt x="6" y="35"/>
                    <a:pt x="5" y="33"/>
                  </a:cubicBezTo>
                  <a:close/>
                  <a:moveTo>
                    <a:pt x="12" y="35"/>
                  </a:moveTo>
                  <a:cubicBezTo>
                    <a:pt x="14" y="36"/>
                    <a:pt x="16" y="36"/>
                    <a:pt x="18" y="36"/>
                  </a:cubicBezTo>
                  <a:cubicBezTo>
                    <a:pt x="21" y="36"/>
                    <a:pt x="23" y="36"/>
                    <a:pt x="25" y="35"/>
                  </a:cubicBezTo>
                  <a:cubicBezTo>
                    <a:pt x="27" y="34"/>
                    <a:pt x="28" y="33"/>
                    <a:pt x="30" y="31"/>
                  </a:cubicBezTo>
                  <a:cubicBezTo>
                    <a:pt x="31" y="30"/>
                    <a:pt x="32" y="28"/>
                    <a:pt x="33" y="26"/>
                  </a:cubicBezTo>
                  <a:cubicBezTo>
                    <a:pt x="33" y="24"/>
                    <a:pt x="34" y="22"/>
                    <a:pt x="34" y="20"/>
                  </a:cubicBezTo>
                  <a:cubicBezTo>
                    <a:pt x="34" y="17"/>
                    <a:pt x="33" y="15"/>
                    <a:pt x="33" y="13"/>
                  </a:cubicBezTo>
                  <a:cubicBezTo>
                    <a:pt x="32" y="11"/>
                    <a:pt x="31" y="10"/>
                    <a:pt x="30" y="8"/>
                  </a:cubicBezTo>
                  <a:cubicBezTo>
                    <a:pt x="28" y="7"/>
                    <a:pt x="27" y="5"/>
                    <a:pt x="25" y="5"/>
                  </a:cubicBezTo>
                  <a:cubicBezTo>
                    <a:pt x="23" y="4"/>
                    <a:pt x="21" y="3"/>
                    <a:pt x="18" y="3"/>
                  </a:cubicBezTo>
                  <a:cubicBezTo>
                    <a:pt x="16" y="3"/>
                    <a:pt x="14" y="4"/>
                    <a:pt x="12" y="5"/>
                  </a:cubicBezTo>
                  <a:cubicBezTo>
                    <a:pt x="10" y="5"/>
                    <a:pt x="9" y="7"/>
                    <a:pt x="7" y="8"/>
                  </a:cubicBezTo>
                  <a:cubicBezTo>
                    <a:pt x="6" y="10"/>
                    <a:pt x="5" y="11"/>
                    <a:pt x="4" y="13"/>
                  </a:cubicBezTo>
                  <a:cubicBezTo>
                    <a:pt x="4" y="15"/>
                    <a:pt x="3" y="17"/>
                    <a:pt x="3" y="20"/>
                  </a:cubicBezTo>
                  <a:cubicBezTo>
                    <a:pt x="3" y="23"/>
                    <a:pt x="4" y="26"/>
                    <a:pt x="5" y="29"/>
                  </a:cubicBezTo>
                  <a:cubicBezTo>
                    <a:pt x="7" y="31"/>
                    <a:pt x="9" y="33"/>
                    <a:pt x="12" y="35"/>
                  </a:cubicBezTo>
                  <a:close/>
                  <a:moveTo>
                    <a:pt x="11" y="8"/>
                  </a:moveTo>
                  <a:cubicBezTo>
                    <a:pt x="13" y="8"/>
                    <a:pt x="14" y="7"/>
                    <a:pt x="15" y="7"/>
                  </a:cubicBezTo>
                  <a:cubicBezTo>
                    <a:pt x="16" y="7"/>
                    <a:pt x="17" y="7"/>
                    <a:pt x="18" y="7"/>
                  </a:cubicBezTo>
                  <a:cubicBezTo>
                    <a:pt x="21" y="7"/>
                    <a:pt x="23" y="8"/>
                    <a:pt x="25" y="9"/>
                  </a:cubicBezTo>
                  <a:cubicBezTo>
                    <a:pt x="26" y="11"/>
                    <a:pt x="27" y="12"/>
                    <a:pt x="27" y="14"/>
                  </a:cubicBezTo>
                  <a:cubicBezTo>
                    <a:pt x="27" y="15"/>
                    <a:pt x="27" y="16"/>
                    <a:pt x="27" y="17"/>
                  </a:cubicBezTo>
                  <a:cubicBezTo>
                    <a:pt x="26" y="18"/>
                    <a:pt x="26" y="18"/>
                    <a:pt x="25" y="19"/>
                  </a:cubicBezTo>
                  <a:cubicBezTo>
                    <a:pt x="25" y="20"/>
                    <a:pt x="24" y="20"/>
                    <a:pt x="24" y="21"/>
                  </a:cubicBezTo>
                  <a:cubicBezTo>
                    <a:pt x="23" y="21"/>
                    <a:pt x="22" y="21"/>
                    <a:pt x="22" y="21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7" y="31"/>
                    <a:pt x="27" y="31"/>
                    <a:pt x="27" y="31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5" y="31"/>
                    <a:pt x="24" y="31"/>
                    <a:pt x="24" y="31"/>
                  </a:cubicBezTo>
                  <a:cubicBezTo>
                    <a:pt x="23" y="31"/>
                    <a:pt x="23" y="30"/>
                    <a:pt x="23" y="30"/>
                  </a:cubicBezTo>
                  <a:cubicBezTo>
                    <a:pt x="18" y="22"/>
                    <a:pt x="18" y="22"/>
                    <a:pt x="18" y="22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15" y="31"/>
                    <a:pt x="15" y="31"/>
                    <a:pt x="15" y="31"/>
                  </a:cubicBezTo>
                  <a:cubicBezTo>
                    <a:pt x="11" y="31"/>
                    <a:pt x="11" y="31"/>
                    <a:pt x="11" y="31"/>
                  </a:cubicBezTo>
                  <a:lnTo>
                    <a:pt x="11" y="8"/>
                  </a:lnTo>
                  <a:close/>
                  <a:moveTo>
                    <a:pt x="19" y="19"/>
                  </a:moveTo>
                  <a:cubicBezTo>
                    <a:pt x="22" y="19"/>
                    <a:pt x="23" y="17"/>
                    <a:pt x="23" y="14"/>
                  </a:cubicBezTo>
                  <a:cubicBezTo>
                    <a:pt x="23" y="13"/>
                    <a:pt x="23" y="12"/>
                    <a:pt x="22" y="12"/>
                  </a:cubicBezTo>
                  <a:cubicBezTo>
                    <a:pt x="21" y="11"/>
                    <a:pt x="20" y="11"/>
                    <a:pt x="18" y="11"/>
                  </a:cubicBezTo>
                  <a:cubicBezTo>
                    <a:pt x="17" y="11"/>
                    <a:pt x="17" y="11"/>
                    <a:pt x="16" y="11"/>
                  </a:cubicBezTo>
                  <a:cubicBezTo>
                    <a:pt x="16" y="11"/>
                    <a:pt x="15" y="11"/>
                    <a:pt x="15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9"/>
                    <a:pt x="15" y="19"/>
                    <a:pt x="15" y="19"/>
                  </a:cubicBezTo>
                  <a:lnTo>
                    <a:pt x="19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7" name="Text Placeholder 4"/>
          <p:cNvSpPr txBox="1">
            <a:spLocks/>
          </p:cNvSpPr>
          <p:nvPr/>
        </p:nvSpPr>
        <p:spPr>
          <a:xfrm>
            <a:off x="4733406" y="5814135"/>
            <a:ext cx="2362200" cy="431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dirty="0">
                <a:solidFill>
                  <a:schemeClr val="bg1"/>
                </a:solidFill>
              </a:rPr>
              <a:t>March 2019</a:t>
            </a:r>
          </a:p>
        </p:txBody>
      </p:sp>
      <p:sp>
        <p:nvSpPr>
          <p:cNvPr id="38" name="Rectangle 37"/>
          <p:cNvSpPr/>
          <p:nvPr/>
        </p:nvSpPr>
        <p:spPr>
          <a:xfrm>
            <a:off x="7627903" y="0"/>
            <a:ext cx="121444" cy="68580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latin typeface="Open Sans Bold"/>
              <a:cs typeface="Open Sans Bold"/>
            </a:endParaRPr>
          </a:p>
        </p:txBody>
      </p:sp>
      <p:grpSp>
        <p:nvGrpSpPr>
          <p:cNvPr id="29" name="Group 28"/>
          <p:cNvGrpSpPr>
            <a:grpSpLocks noChangeAspect="1"/>
          </p:cNvGrpSpPr>
          <p:nvPr/>
        </p:nvGrpSpPr>
        <p:grpSpPr>
          <a:xfrm>
            <a:off x="833970" y="5007327"/>
            <a:ext cx="2121408" cy="1172755"/>
            <a:chOff x="7526204" y="2289887"/>
            <a:chExt cx="3108960" cy="1718692"/>
          </a:xfrm>
        </p:grpSpPr>
        <p:grpSp>
          <p:nvGrpSpPr>
            <p:cNvPr id="30" name="Group 29"/>
            <p:cNvGrpSpPr>
              <a:grpSpLocks noChangeAspect="1"/>
            </p:cNvGrpSpPr>
            <p:nvPr/>
          </p:nvGrpSpPr>
          <p:grpSpPr>
            <a:xfrm>
              <a:off x="8070916" y="2865025"/>
              <a:ext cx="2148840" cy="827025"/>
              <a:chOff x="-2522495" y="1678245"/>
              <a:chExt cx="2126771" cy="818532"/>
            </a:xfrm>
          </p:grpSpPr>
          <p:sp>
            <p:nvSpPr>
              <p:cNvPr id="32" name="TextBox 31"/>
              <p:cNvSpPr txBox="1">
                <a:spLocks/>
              </p:cNvSpPr>
              <p:nvPr/>
            </p:nvSpPr>
            <p:spPr>
              <a:xfrm>
                <a:off x="-2130523" y="1678245"/>
                <a:ext cx="486642" cy="382152"/>
              </a:xfrm>
              <a:custGeom>
                <a:avLst/>
                <a:gdLst/>
                <a:ahLst/>
                <a:cxnLst/>
                <a:rect l="l" t="t" r="r" b="b"/>
                <a:pathLst>
                  <a:path w="486642" h="382152">
                    <a:moveTo>
                      <a:pt x="150943" y="0"/>
                    </a:moveTo>
                    <a:cubicBezTo>
                      <a:pt x="191582" y="0"/>
                      <a:pt x="224490" y="12368"/>
                      <a:pt x="232082" y="39810"/>
                    </a:cubicBezTo>
                    <a:lnTo>
                      <a:pt x="232262" y="41192"/>
                    </a:lnTo>
                    <a:lnTo>
                      <a:pt x="244394" y="27828"/>
                    </a:lnTo>
                    <a:cubicBezTo>
                      <a:pt x="265912" y="9086"/>
                      <a:pt x="296328" y="0"/>
                      <a:pt x="331918" y="0"/>
                    </a:cubicBezTo>
                    <a:cubicBezTo>
                      <a:pt x="355140" y="0"/>
                      <a:pt x="375838" y="4038"/>
                      <a:pt x="390730" y="12620"/>
                    </a:cubicBezTo>
                    <a:lnTo>
                      <a:pt x="399550" y="19037"/>
                    </a:lnTo>
                    <a:lnTo>
                      <a:pt x="415123" y="9213"/>
                    </a:lnTo>
                    <a:cubicBezTo>
                      <a:pt x="421204" y="6846"/>
                      <a:pt x="427956" y="5553"/>
                      <a:pt x="435150" y="5553"/>
                    </a:cubicBezTo>
                    <a:cubicBezTo>
                      <a:pt x="464430" y="5553"/>
                      <a:pt x="486642" y="26250"/>
                      <a:pt x="486642" y="53511"/>
                    </a:cubicBezTo>
                    <a:cubicBezTo>
                      <a:pt x="486642" y="80772"/>
                      <a:pt x="464430" y="101974"/>
                      <a:pt x="435150" y="101974"/>
                    </a:cubicBezTo>
                    <a:cubicBezTo>
                      <a:pt x="420763" y="101974"/>
                      <a:pt x="408142" y="96674"/>
                      <a:pt x="399118" y="87965"/>
                    </a:cubicBezTo>
                    <a:lnTo>
                      <a:pt x="397141" y="85099"/>
                    </a:lnTo>
                    <a:lnTo>
                      <a:pt x="387023" y="90979"/>
                    </a:lnTo>
                    <a:cubicBezTo>
                      <a:pt x="381675" y="92887"/>
                      <a:pt x="375838" y="93897"/>
                      <a:pt x="369780" y="93897"/>
                    </a:cubicBezTo>
                    <a:cubicBezTo>
                      <a:pt x="355140" y="93897"/>
                      <a:pt x="342015" y="89354"/>
                      <a:pt x="335452" y="81781"/>
                    </a:cubicBezTo>
                    <a:cubicBezTo>
                      <a:pt x="350092" y="78247"/>
                      <a:pt x="359179" y="66132"/>
                      <a:pt x="359179" y="42910"/>
                    </a:cubicBezTo>
                    <a:cubicBezTo>
                      <a:pt x="359179" y="22717"/>
                      <a:pt x="350597" y="8077"/>
                      <a:pt x="331918" y="8077"/>
                    </a:cubicBezTo>
                    <a:cubicBezTo>
                      <a:pt x="308696" y="8077"/>
                      <a:pt x="300619" y="29784"/>
                      <a:pt x="300619" y="58054"/>
                    </a:cubicBezTo>
                    <a:lnTo>
                      <a:pt x="300619" y="132264"/>
                    </a:lnTo>
                    <a:lnTo>
                      <a:pt x="363217" y="132264"/>
                    </a:lnTo>
                    <a:lnTo>
                      <a:pt x="360693" y="144884"/>
                    </a:lnTo>
                    <a:lnTo>
                      <a:pt x="300619" y="144884"/>
                    </a:lnTo>
                    <a:lnTo>
                      <a:pt x="300619" y="327126"/>
                    </a:lnTo>
                    <a:cubicBezTo>
                      <a:pt x="300619" y="360445"/>
                      <a:pt x="312230" y="369027"/>
                      <a:pt x="339490" y="381142"/>
                    </a:cubicBezTo>
                    <a:lnTo>
                      <a:pt x="339490" y="382152"/>
                    </a:lnTo>
                    <a:lnTo>
                      <a:pt x="186529" y="382152"/>
                    </a:lnTo>
                    <a:lnTo>
                      <a:pt x="186529" y="381142"/>
                    </a:lnTo>
                    <a:cubicBezTo>
                      <a:pt x="208741" y="367007"/>
                      <a:pt x="210255" y="360445"/>
                      <a:pt x="210255" y="327126"/>
                    </a:cubicBezTo>
                    <a:lnTo>
                      <a:pt x="210255" y="144884"/>
                    </a:lnTo>
                    <a:lnTo>
                      <a:pt x="180976" y="144884"/>
                    </a:lnTo>
                    <a:lnTo>
                      <a:pt x="180976" y="139331"/>
                    </a:lnTo>
                    <a:lnTo>
                      <a:pt x="210255" y="128225"/>
                    </a:lnTo>
                    <a:lnTo>
                      <a:pt x="210255" y="113585"/>
                    </a:lnTo>
                    <a:lnTo>
                      <a:pt x="212504" y="87227"/>
                    </a:lnTo>
                    <a:lnTo>
                      <a:pt x="206048" y="90979"/>
                    </a:lnTo>
                    <a:cubicBezTo>
                      <a:pt x="200700" y="92887"/>
                      <a:pt x="194863" y="93897"/>
                      <a:pt x="188805" y="93897"/>
                    </a:cubicBezTo>
                    <a:cubicBezTo>
                      <a:pt x="174165" y="93897"/>
                      <a:pt x="161040" y="89354"/>
                      <a:pt x="154477" y="81781"/>
                    </a:cubicBezTo>
                    <a:cubicBezTo>
                      <a:pt x="169117" y="78247"/>
                      <a:pt x="178204" y="66132"/>
                      <a:pt x="178204" y="42910"/>
                    </a:cubicBezTo>
                    <a:cubicBezTo>
                      <a:pt x="178204" y="22717"/>
                      <a:pt x="169622" y="8077"/>
                      <a:pt x="150943" y="8077"/>
                    </a:cubicBezTo>
                    <a:cubicBezTo>
                      <a:pt x="127721" y="8077"/>
                      <a:pt x="119644" y="29784"/>
                      <a:pt x="119644" y="58054"/>
                    </a:cubicBezTo>
                    <a:lnTo>
                      <a:pt x="119644" y="132264"/>
                    </a:lnTo>
                    <a:lnTo>
                      <a:pt x="182242" y="132264"/>
                    </a:lnTo>
                    <a:lnTo>
                      <a:pt x="179718" y="144884"/>
                    </a:lnTo>
                    <a:lnTo>
                      <a:pt x="119644" y="144884"/>
                    </a:lnTo>
                    <a:lnTo>
                      <a:pt x="119644" y="327126"/>
                    </a:lnTo>
                    <a:cubicBezTo>
                      <a:pt x="119644" y="360445"/>
                      <a:pt x="131255" y="369027"/>
                      <a:pt x="158516" y="381142"/>
                    </a:cubicBezTo>
                    <a:lnTo>
                      <a:pt x="158516" y="382152"/>
                    </a:lnTo>
                    <a:lnTo>
                      <a:pt x="5554" y="382152"/>
                    </a:lnTo>
                    <a:lnTo>
                      <a:pt x="5554" y="381142"/>
                    </a:lnTo>
                    <a:cubicBezTo>
                      <a:pt x="27766" y="367007"/>
                      <a:pt x="29280" y="360445"/>
                      <a:pt x="29280" y="327126"/>
                    </a:cubicBezTo>
                    <a:lnTo>
                      <a:pt x="29280" y="144884"/>
                    </a:lnTo>
                    <a:lnTo>
                      <a:pt x="0" y="144884"/>
                    </a:lnTo>
                    <a:lnTo>
                      <a:pt x="0" y="139331"/>
                    </a:lnTo>
                    <a:lnTo>
                      <a:pt x="29280" y="128225"/>
                    </a:lnTo>
                    <a:lnTo>
                      <a:pt x="29280" y="113585"/>
                    </a:lnTo>
                    <a:cubicBezTo>
                      <a:pt x="29280" y="36347"/>
                      <a:pt x="79763" y="0"/>
                      <a:pt x="15094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33" name="TextBox 32"/>
              <p:cNvSpPr txBox="1">
                <a:spLocks/>
              </p:cNvSpPr>
              <p:nvPr/>
            </p:nvSpPr>
            <p:spPr>
              <a:xfrm>
                <a:off x="-2522495" y="1701971"/>
                <a:ext cx="362969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62969" h="363474">
                    <a:moveTo>
                      <a:pt x="181737" y="0"/>
                    </a:moveTo>
                    <a:cubicBezTo>
                      <a:pt x="285731" y="0"/>
                      <a:pt x="362969" y="75724"/>
                      <a:pt x="362969" y="181737"/>
                    </a:cubicBezTo>
                    <a:cubicBezTo>
                      <a:pt x="362969" y="287751"/>
                      <a:pt x="285731" y="363474"/>
                      <a:pt x="181737" y="363474"/>
                    </a:cubicBezTo>
                    <a:cubicBezTo>
                      <a:pt x="77238" y="363474"/>
                      <a:pt x="0" y="287751"/>
                      <a:pt x="0" y="181737"/>
                    </a:cubicBezTo>
                    <a:cubicBezTo>
                      <a:pt x="0" y="75724"/>
                      <a:pt x="77238" y="0"/>
                      <a:pt x="181737" y="0"/>
                    </a:cubicBezTo>
                    <a:close/>
                    <a:moveTo>
                      <a:pt x="181737" y="10097"/>
                    </a:moveTo>
                    <a:cubicBezTo>
                      <a:pt x="123682" y="10097"/>
                      <a:pt x="103994" y="70676"/>
                      <a:pt x="103994" y="181737"/>
                    </a:cubicBezTo>
                    <a:cubicBezTo>
                      <a:pt x="103994" y="292799"/>
                      <a:pt x="123682" y="353378"/>
                      <a:pt x="181737" y="353378"/>
                    </a:cubicBezTo>
                    <a:cubicBezTo>
                      <a:pt x="239287" y="353378"/>
                      <a:pt x="258975" y="292799"/>
                      <a:pt x="258975" y="181737"/>
                    </a:cubicBezTo>
                    <a:cubicBezTo>
                      <a:pt x="258975" y="70676"/>
                      <a:pt x="239287" y="10097"/>
                      <a:pt x="181737" y="1009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50" name="TextBox 49"/>
              <p:cNvSpPr txBox="1">
                <a:spLocks/>
              </p:cNvSpPr>
              <p:nvPr/>
            </p:nvSpPr>
            <p:spPr>
              <a:xfrm>
                <a:off x="-1602104" y="1805461"/>
                <a:ext cx="245345" cy="259984"/>
              </a:xfrm>
              <a:custGeom>
                <a:avLst/>
                <a:gdLst/>
                <a:ahLst/>
                <a:cxnLst/>
                <a:rect l="l" t="t" r="r" b="b"/>
                <a:pathLst>
                  <a:path w="245345" h="259984">
                    <a:moveTo>
                      <a:pt x="144885" y="0"/>
                    </a:moveTo>
                    <a:cubicBezTo>
                      <a:pt x="199406" y="0"/>
                      <a:pt x="240297" y="23726"/>
                      <a:pt x="240297" y="65122"/>
                    </a:cubicBezTo>
                    <a:cubicBezTo>
                      <a:pt x="240297" y="95411"/>
                      <a:pt x="217075" y="111061"/>
                      <a:pt x="192843" y="111061"/>
                    </a:cubicBezTo>
                    <a:cubicBezTo>
                      <a:pt x="166087" y="111061"/>
                      <a:pt x="150438" y="96421"/>
                      <a:pt x="148923" y="81781"/>
                    </a:cubicBezTo>
                    <a:cubicBezTo>
                      <a:pt x="151952" y="82791"/>
                      <a:pt x="155486" y="83296"/>
                      <a:pt x="158010" y="83296"/>
                    </a:cubicBezTo>
                    <a:cubicBezTo>
                      <a:pt x="176689" y="83296"/>
                      <a:pt x="184261" y="67646"/>
                      <a:pt x="184261" y="48463"/>
                    </a:cubicBezTo>
                    <a:cubicBezTo>
                      <a:pt x="184261" y="24231"/>
                      <a:pt x="171136" y="8582"/>
                      <a:pt x="145894" y="8582"/>
                    </a:cubicBezTo>
                    <a:cubicBezTo>
                      <a:pt x="110557" y="8582"/>
                      <a:pt x="93897" y="54016"/>
                      <a:pt x="93897" y="112575"/>
                    </a:cubicBezTo>
                    <a:cubicBezTo>
                      <a:pt x="93897" y="181737"/>
                      <a:pt x="124692" y="218589"/>
                      <a:pt x="171640" y="218589"/>
                    </a:cubicBezTo>
                    <a:cubicBezTo>
                      <a:pt x="200415" y="218589"/>
                      <a:pt x="226666" y="204958"/>
                      <a:pt x="242316" y="173659"/>
                    </a:cubicBezTo>
                    <a:lnTo>
                      <a:pt x="245345" y="175174"/>
                    </a:lnTo>
                    <a:cubicBezTo>
                      <a:pt x="231210" y="229190"/>
                      <a:pt x="185775" y="259984"/>
                      <a:pt x="129740" y="259984"/>
                    </a:cubicBezTo>
                    <a:cubicBezTo>
                      <a:pt x="60074" y="259984"/>
                      <a:pt x="0" y="213036"/>
                      <a:pt x="0" y="134788"/>
                    </a:cubicBezTo>
                    <a:cubicBezTo>
                      <a:pt x="0" y="49977"/>
                      <a:pt x="63608" y="0"/>
                      <a:pt x="144885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51" name="TextBox 50"/>
              <p:cNvSpPr txBox="1">
                <a:spLocks/>
              </p:cNvSpPr>
              <p:nvPr/>
            </p:nvSpPr>
            <p:spPr>
              <a:xfrm>
                <a:off x="-1335404" y="1805461"/>
                <a:ext cx="251908" cy="259984"/>
              </a:xfrm>
              <a:custGeom>
                <a:avLst/>
                <a:gdLst/>
                <a:ahLst/>
                <a:cxnLst/>
                <a:rect l="l" t="t" r="r" b="b"/>
                <a:pathLst>
                  <a:path w="251908" h="259984">
                    <a:moveTo>
                      <a:pt x="132264" y="0"/>
                    </a:moveTo>
                    <a:cubicBezTo>
                      <a:pt x="213541" y="0"/>
                      <a:pt x="251908" y="51996"/>
                      <a:pt x="251908" y="118633"/>
                    </a:cubicBezTo>
                    <a:lnTo>
                      <a:pt x="91373" y="118633"/>
                    </a:lnTo>
                    <a:cubicBezTo>
                      <a:pt x="91373" y="181232"/>
                      <a:pt x="124187" y="218589"/>
                      <a:pt x="172650" y="218589"/>
                    </a:cubicBezTo>
                    <a:cubicBezTo>
                      <a:pt x="203444" y="218589"/>
                      <a:pt x="230200" y="204958"/>
                      <a:pt x="245850" y="173659"/>
                    </a:cubicBezTo>
                    <a:lnTo>
                      <a:pt x="249383" y="175174"/>
                    </a:lnTo>
                    <a:cubicBezTo>
                      <a:pt x="234744" y="229190"/>
                      <a:pt x="189309" y="259984"/>
                      <a:pt x="131759" y="259984"/>
                    </a:cubicBezTo>
                    <a:cubicBezTo>
                      <a:pt x="59569" y="259984"/>
                      <a:pt x="0" y="212531"/>
                      <a:pt x="0" y="130244"/>
                    </a:cubicBezTo>
                    <a:cubicBezTo>
                      <a:pt x="0" y="50987"/>
                      <a:pt x="60074" y="0"/>
                      <a:pt x="132264" y="0"/>
                    </a:cubicBezTo>
                    <a:close/>
                    <a:moveTo>
                      <a:pt x="132264" y="8582"/>
                    </a:moveTo>
                    <a:cubicBezTo>
                      <a:pt x="106013" y="8582"/>
                      <a:pt x="92888" y="48463"/>
                      <a:pt x="91878" y="108032"/>
                    </a:cubicBezTo>
                    <a:lnTo>
                      <a:pt x="165078" y="108032"/>
                    </a:lnTo>
                    <a:cubicBezTo>
                      <a:pt x="165078" y="51492"/>
                      <a:pt x="161039" y="8582"/>
                      <a:pt x="132264" y="858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52" name="TextBox 51"/>
              <p:cNvSpPr txBox="1">
                <a:spLocks/>
              </p:cNvSpPr>
              <p:nvPr/>
            </p:nvSpPr>
            <p:spPr>
              <a:xfrm>
                <a:off x="-1766048" y="1810509"/>
                <a:ext cx="140846" cy="249888"/>
              </a:xfrm>
              <a:custGeom>
                <a:avLst/>
                <a:gdLst/>
                <a:ahLst/>
                <a:cxnLst/>
                <a:rect l="l" t="t" r="r" b="b"/>
                <a:pathLst>
                  <a:path w="140846" h="249888">
                    <a:moveTo>
                      <a:pt x="0" y="0"/>
                    </a:moveTo>
                    <a:lnTo>
                      <a:pt x="117119" y="0"/>
                    </a:lnTo>
                    <a:lnTo>
                      <a:pt x="117119" y="194862"/>
                    </a:lnTo>
                    <a:cubicBezTo>
                      <a:pt x="117119" y="228181"/>
                      <a:pt x="118633" y="234743"/>
                      <a:pt x="140846" y="248878"/>
                    </a:cubicBezTo>
                    <a:lnTo>
                      <a:pt x="140846" y="249888"/>
                    </a:lnTo>
                    <a:lnTo>
                      <a:pt x="3029" y="249888"/>
                    </a:lnTo>
                    <a:lnTo>
                      <a:pt x="3029" y="248878"/>
                    </a:lnTo>
                    <a:cubicBezTo>
                      <a:pt x="25241" y="234743"/>
                      <a:pt x="26755" y="228181"/>
                      <a:pt x="26755" y="194862"/>
                    </a:cubicBezTo>
                    <a:lnTo>
                      <a:pt x="26755" y="56035"/>
                    </a:lnTo>
                    <a:cubicBezTo>
                      <a:pt x="26755" y="21707"/>
                      <a:pt x="23726" y="14640"/>
                      <a:pt x="0" y="1009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53" name="TextBox 52"/>
              <p:cNvSpPr txBox="1">
                <a:spLocks/>
              </p:cNvSpPr>
              <p:nvPr/>
            </p:nvSpPr>
            <p:spPr>
              <a:xfrm>
                <a:off x="-1501643" y="2133303"/>
                <a:ext cx="323593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23593" h="363474">
                    <a:moveTo>
                      <a:pt x="190319" y="0"/>
                    </a:moveTo>
                    <a:cubicBezTo>
                      <a:pt x="236258" y="0"/>
                      <a:pt x="260994" y="15145"/>
                      <a:pt x="277653" y="15145"/>
                    </a:cubicBezTo>
                    <a:cubicBezTo>
                      <a:pt x="291284" y="15145"/>
                      <a:pt x="299866" y="9087"/>
                      <a:pt x="310467" y="0"/>
                    </a:cubicBezTo>
                    <a:lnTo>
                      <a:pt x="314001" y="120149"/>
                    </a:lnTo>
                    <a:lnTo>
                      <a:pt x="312991" y="120149"/>
                    </a:lnTo>
                    <a:cubicBezTo>
                      <a:pt x="287750" y="56541"/>
                      <a:pt x="250393" y="11107"/>
                      <a:pt x="199910" y="11107"/>
                    </a:cubicBezTo>
                    <a:cubicBezTo>
                      <a:pt x="137312" y="11107"/>
                      <a:pt x="101974" y="80268"/>
                      <a:pt x="101974" y="164573"/>
                    </a:cubicBezTo>
                    <a:cubicBezTo>
                      <a:pt x="101974" y="260490"/>
                      <a:pt x="155486" y="315011"/>
                      <a:pt x="221113" y="315011"/>
                    </a:cubicBezTo>
                    <a:cubicBezTo>
                      <a:pt x="263014" y="315011"/>
                      <a:pt x="297846" y="300371"/>
                      <a:pt x="320564" y="252918"/>
                    </a:cubicBezTo>
                    <a:lnTo>
                      <a:pt x="323593" y="253927"/>
                    </a:lnTo>
                    <a:cubicBezTo>
                      <a:pt x="306428" y="321574"/>
                      <a:pt x="252412" y="363474"/>
                      <a:pt x="173660" y="363474"/>
                    </a:cubicBezTo>
                    <a:cubicBezTo>
                      <a:pt x="74209" y="363474"/>
                      <a:pt x="0" y="293304"/>
                      <a:pt x="0" y="186786"/>
                    </a:cubicBezTo>
                    <a:cubicBezTo>
                      <a:pt x="0" y="76229"/>
                      <a:pt x="85820" y="0"/>
                      <a:pt x="19031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54" name="TextBox 53"/>
              <p:cNvSpPr txBox="1">
                <a:spLocks/>
              </p:cNvSpPr>
              <p:nvPr/>
            </p:nvSpPr>
            <p:spPr>
              <a:xfrm>
                <a:off x="-758693" y="2133303"/>
                <a:ext cx="362969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62969" h="363474">
                    <a:moveTo>
                      <a:pt x="181737" y="0"/>
                    </a:moveTo>
                    <a:cubicBezTo>
                      <a:pt x="285731" y="0"/>
                      <a:pt x="362969" y="75724"/>
                      <a:pt x="362969" y="181737"/>
                    </a:cubicBezTo>
                    <a:cubicBezTo>
                      <a:pt x="362969" y="287751"/>
                      <a:pt x="285731" y="363474"/>
                      <a:pt x="181737" y="363474"/>
                    </a:cubicBezTo>
                    <a:cubicBezTo>
                      <a:pt x="77238" y="363474"/>
                      <a:pt x="0" y="287751"/>
                      <a:pt x="0" y="181737"/>
                    </a:cubicBezTo>
                    <a:cubicBezTo>
                      <a:pt x="0" y="75724"/>
                      <a:pt x="77238" y="0"/>
                      <a:pt x="181737" y="0"/>
                    </a:cubicBezTo>
                    <a:close/>
                    <a:moveTo>
                      <a:pt x="181737" y="10097"/>
                    </a:moveTo>
                    <a:cubicBezTo>
                      <a:pt x="123682" y="10097"/>
                      <a:pt x="103994" y="70676"/>
                      <a:pt x="103994" y="181737"/>
                    </a:cubicBezTo>
                    <a:cubicBezTo>
                      <a:pt x="103994" y="292799"/>
                      <a:pt x="123682" y="353378"/>
                      <a:pt x="181737" y="353378"/>
                    </a:cubicBezTo>
                    <a:cubicBezTo>
                      <a:pt x="239287" y="353378"/>
                      <a:pt x="258975" y="292799"/>
                      <a:pt x="258975" y="181737"/>
                    </a:cubicBezTo>
                    <a:cubicBezTo>
                      <a:pt x="258975" y="70676"/>
                      <a:pt x="239287" y="10097"/>
                      <a:pt x="181737" y="1009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55" name="TextBox 54"/>
              <p:cNvSpPr txBox="1">
                <a:spLocks/>
              </p:cNvSpPr>
              <p:nvPr/>
            </p:nvSpPr>
            <p:spPr>
              <a:xfrm>
                <a:off x="-1156286" y="2133808"/>
                <a:ext cx="373571" cy="357921"/>
              </a:xfrm>
              <a:custGeom>
                <a:avLst/>
                <a:gdLst/>
                <a:ahLst/>
                <a:cxnLst/>
                <a:rect l="l" t="t" r="r" b="b"/>
                <a:pathLst>
                  <a:path w="373571" h="357921">
                    <a:moveTo>
                      <a:pt x="17164" y="0"/>
                    </a:moveTo>
                    <a:cubicBezTo>
                      <a:pt x="24232" y="3534"/>
                      <a:pt x="35338" y="4544"/>
                      <a:pt x="52502" y="4544"/>
                    </a:cubicBezTo>
                    <a:lnTo>
                      <a:pt x="321069" y="4544"/>
                    </a:lnTo>
                    <a:cubicBezTo>
                      <a:pt x="338233" y="4544"/>
                      <a:pt x="349339" y="3534"/>
                      <a:pt x="356407" y="0"/>
                    </a:cubicBezTo>
                    <a:lnTo>
                      <a:pt x="373571" y="119644"/>
                    </a:lnTo>
                    <a:lnTo>
                      <a:pt x="372561" y="119644"/>
                    </a:lnTo>
                    <a:cubicBezTo>
                      <a:pt x="329651" y="50988"/>
                      <a:pt x="309963" y="17669"/>
                      <a:pt x="255946" y="17669"/>
                    </a:cubicBezTo>
                    <a:lnTo>
                      <a:pt x="234239" y="17669"/>
                    </a:lnTo>
                    <a:lnTo>
                      <a:pt x="234239" y="297847"/>
                    </a:lnTo>
                    <a:cubicBezTo>
                      <a:pt x="234239" y="331165"/>
                      <a:pt x="240802" y="342272"/>
                      <a:pt x="263014" y="356912"/>
                    </a:cubicBezTo>
                    <a:lnTo>
                      <a:pt x="263014" y="357921"/>
                    </a:lnTo>
                    <a:lnTo>
                      <a:pt x="110557" y="357921"/>
                    </a:lnTo>
                    <a:lnTo>
                      <a:pt x="110557" y="356912"/>
                    </a:lnTo>
                    <a:cubicBezTo>
                      <a:pt x="133274" y="342272"/>
                      <a:pt x="139332" y="331165"/>
                      <a:pt x="139332" y="297847"/>
                    </a:cubicBezTo>
                    <a:lnTo>
                      <a:pt x="139332" y="17669"/>
                    </a:lnTo>
                    <a:lnTo>
                      <a:pt x="117624" y="17669"/>
                    </a:lnTo>
                    <a:cubicBezTo>
                      <a:pt x="63608" y="17669"/>
                      <a:pt x="43920" y="50988"/>
                      <a:pt x="1010" y="119644"/>
                    </a:cubicBezTo>
                    <a:lnTo>
                      <a:pt x="0" y="119644"/>
                    </a:lnTo>
                    <a:lnTo>
                      <a:pt x="17164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56" name="TextBox 55"/>
              <p:cNvSpPr txBox="1">
                <a:spLocks/>
              </p:cNvSpPr>
              <p:nvPr/>
            </p:nvSpPr>
            <p:spPr>
              <a:xfrm>
                <a:off x="-2145704" y="2148039"/>
                <a:ext cx="130738" cy="132991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57" name="TextBox 56"/>
              <p:cNvSpPr txBox="1">
                <a:spLocks/>
              </p:cNvSpPr>
              <p:nvPr/>
            </p:nvSpPr>
            <p:spPr>
              <a:xfrm>
                <a:off x="-1995442" y="2150070"/>
                <a:ext cx="79221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58" name="TextBox 57"/>
              <p:cNvSpPr txBox="1">
                <a:spLocks/>
              </p:cNvSpPr>
              <p:nvPr/>
            </p:nvSpPr>
            <p:spPr>
              <a:xfrm>
                <a:off x="-1879880" y="2150070"/>
                <a:ext cx="106535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59" name="TextBox 58"/>
              <p:cNvSpPr txBox="1">
                <a:spLocks/>
              </p:cNvSpPr>
              <p:nvPr/>
            </p:nvSpPr>
            <p:spPr>
              <a:xfrm>
                <a:off x="-1757317" y="2150070"/>
                <a:ext cx="107896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60" name="TextBox 59"/>
              <p:cNvSpPr txBox="1">
                <a:spLocks/>
              </p:cNvSpPr>
              <p:nvPr/>
            </p:nvSpPr>
            <p:spPr>
              <a:xfrm>
                <a:off x="-1623967" y="2150070"/>
                <a:ext cx="79221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</p:grpSp>
        <p:sp>
          <p:nvSpPr>
            <p:cNvPr id="31" name="Freeform 9"/>
            <p:cNvSpPr>
              <a:spLocks noEditPoints="1"/>
            </p:cNvSpPr>
            <p:nvPr/>
          </p:nvSpPr>
          <p:spPr bwMode="auto">
            <a:xfrm>
              <a:off x="7526204" y="2289887"/>
              <a:ext cx="3108960" cy="171869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52080" y="0"/>
            <a:ext cx="4436745" cy="3429000"/>
          </a:xfrm>
          <a:prstGeom prst="rect">
            <a:avLst/>
          </a:prstGeom>
        </p:spPr>
      </p:pic>
      <p:sp>
        <p:nvSpPr>
          <p:cNvPr id="34" name="Rectangle 33">
            <a:extLst>
              <a:ext uri="{FF2B5EF4-FFF2-40B4-BE49-F238E27FC236}">
                <a16:creationId xmlns:a16="http://schemas.microsoft.com/office/drawing/2014/main" id="{18E5268C-C141-4840-9D00-CD333097B788}"/>
              </a:ext>
            </a:extLst>
          </p:cNvPr>
          <p:cNvSpPr/>
          <p:nvPr/>
        </p:nvSpPr>
        <p:spPr>
          <a:xfrm>
            <a:off x="7749347" y="3425841"/>
            <a:ext cx="4439478" cy="52993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64008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1600" b="1" dirty="0">
                <a:solidFill>
                  <a:schemeClr val="accent2"/>
                </a:solidFill>
                <a:latin typeface="+mj-lt"/>
                <a:cs typeface="Open Sans Bold"/>
              </a:rPr>
              <a:t>Architecture Planning</a:t>
            </a:r>
          </a:p>
        </p:txBody>
      </p:sp>
    </p:spTree>
    <p:extLst>
      <p:ext uri="{BB962C8B-B14F-4D97-AF65-F5344CB8AC3E}">
        <p14:creationId xmlns:p14="http://schemas.microsoft.com/office/powerpoint/2010/main" val="186414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91333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5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986" y="83384"/>
            <a:ext cx="9686100" cy="476805"/>
          </a:xfrm>
        </p:spPr>
        <p:txBody>
          <a:bodyPr/>
          <a:lstStyle/>
          <a:p>
            <a:r>
              <a:rPr lang="en-US" dirty="0"/>
              <a:t>Unified Data Fabric (UDF)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304987" y="683543"/>
            <a:ext cx="10289441" cy="804642"/>
          </a:xfrm>
        </p:spPr>
        <p:txBody>
          <a:bodyPr/>
          <a:lstStyle/>
          <a:p>
            <a:r>
              <a:rPr lang="en-US" altLang="en-US" dirty="0"/>
              <a:t>We believe UDF is the data foundation for discovering, acquiring, refining and delivering actionable insights derived from our strategic data</a:t>
            </a:r>
          </a:p>
        </p:txBody>
      </p:sp>
      <p:sp>
        <p:nvSpPr>
          <p:cNvPr id="5" name="Rectangle 4"/>
          <p:cNvSpPr/>
          <p:nvPr/>
        </p:nvSpPr>
        <p:spPr>
          <a:xfrm>
            <a:off x="446876" y="1705446"/>
            <a:ext cx="11487621" cy="464541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75000"/>
              </a:schemeClr>
            </a:solidFill>
          </a:ln>
          <a:effectLst>
            <a:outerShdw blurRad="254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Open Sans Bold"/>
              <a:cs typeface="Open Sans Bold"/>
            </a:endParaRPr>
          </a:p>
        </p:txBody>
      </p:sp>
      <p:sp>
        <p:nvSpPr>
          <p:cNvPr id="4" name="Text Placeholder 1"/>
          <p:cNvSpPr txBox="1">
            <a:spLocks/>
          </p:cNvSpPr>
          <p:nvPr/>
        </p:nvSpPr>
        <p:spPr>
          <a:xfrm>
            <a:off x="666795" y="1828800"/>
            <a:ext cx="11075153" cy="4469011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14325" indent="-285750">
              <a:buFont typeface="Arial" panose="020B0604020202020204" pitchFamily="34" charset="0"/>
              <a:buChar char="•"/>
            </a:pPr>
            <a:r>
              <a:rPr lang="en-US" altLang="en-US" dirty="0"/>
              <a:t>We will enable access to all appropriate shared data needed to support enterprise level business decisions through a secure, managed and governed framework</a:t>
            </a:r>
          </a:p>
          <a:p>
            <a:pPr marL="314325" indent="-285750">
              <a:buFont typeface="Arial" panose="020B0604020202020204" pitchFamily="34" charset="0"/>
              <a:buChar char="•"/>
            </a:pPr>
            <a:r>
              <a:rPr lang="en-US" altLang="en-US" dirty="0"/>
              <a:t>We will provide visibility into this data across LOB domains through shared and linked semantic library to enable better understanding of available analytical information assets</a:t>
            </a:r>
          </a:p>
          <a:p>
            <a:pPr marL="314325" indent="-285750">
              <a:buFont typeface="Arial" panose="020B0604020202020204" pitchFamily="34" charset="0"/>
              <a:buChar char="•"/>
            </a:pPr>
            <a:r>
              <a:rPr lang="en-US" altLang="en-US" dirty="0"/>
              <a:t>We will enable appropriate data quality controls to ensure consistency and accuracy of information supplied to analytic consumers</a:t>
            </a:r>
          </a:p>
          <a:p>
            <a:pPr marL="314325" indent="-285750">
              <a:buFont typeface="Arial" panose="020B0604020202020204" pitchFamily="34" charset="0"/>
              <a:buChar char="•"/>
            </a:pPr>
            <a:r>
              <a:rPr lang="en-US" altLang="en-US" dirty="0"/>
              <a:t>We will capture metadata about UDF data upon ingestion through data delivery to provide context driving trust and confidence in the available data</a:t>
            </a:r>
          </a:p>
          <a:p>
            <a:pPr marL="314325" indent="-285750">
              <a:buFont typeface="Arial" panose="020B0604020202020204" pitchFamily="34" charset="0"/>
              <a:buChar char="•"/>
            </a:pPr>
            <a:r>
              <a:rPr lang="en-US" altLang="en-US" dirty="0"/>
              <a:t>We will provide the capability to find, understand and collaborate about data within UDF</a:t>
            </a:r>
          </a:p>
          <a:p>
            <a:pPr marL="314325" indent="-285750">
              <a:buFont typeface="Arial" panose="020B0604020202020204" pitchFamily="34" charset="0"/>
              <a:buChar char="•"/>
            </a:pPr>
            <a:r>
              <a:rPr lang="en-US" altLang="en-US" dirty="0"/>
              <a:t>We will implement a data stewardship process to ensure data quality, data protection, and data compliance</a:t>
            </a:r>
          </a:p>
          <a:p>
            <a:pPr marL="28575"/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623804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4178" y="219381"/>
            <a:ext cx="9686100" cy="476805"/>
          </a:xfrm>
        </p:spPr>
        <p:txBody>
          <a:bodyPr/>
          <a:lstStyle/>
          <a:p>
            <a:r>
              <a:rPr lang="en-US" dirty="0"/>
              <a:t>Analytics Fabric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46877" y="964150"/>
            <a:ext cx="10368268" cy="413099"/>
          </a:xfrm>
        </p:spPr>
        <p:txBody>
          <a:bodyPr/>
          <a:lstStyle/>
          <a:p>
            <a:r>
              <a:rPr lang="en-US" dirty="0"/>
              <a:t>We believe the Analytics Fabric provides analytic consumers a consistent framework to discover, access, and analyze analytics that enable business insight</a:t>
            </a:r>
          </a:p>
        </p:txBody>
      </p:sp>
      <p:sp>
        <p:nvSpPr>
          <p:cNvPr id="5" name="Rectangle 4"/>
          <p:cNvSpPr/>
          <p:nvPr/>
        </p:nvSpPr>
        <p:spPr>
          <a:xfrm>
            <a:off x="331076" y="1876096"/>
            <a:ext cx="11603421" cy="4398579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75000"/>
              </a:schemeClr>
            </a:solidFill>
          </a:ln>
          <a:effectLst>
            <a:outerShdw blurRad="254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Open Sans Bold"/>
              <a:cs typeface="Open Sans Bold"/>
            </a:endParaRPr>
          </a:p>
        </p:txBody>
      </p:sp>
      <p:sp>
        <p:nvSpPr>
          <p:cNvPr id="6" name="Text Placeholder 1"/>
          <p:cNvSpPr txBox="1">
            <a:spLocks/>
          </p:cNvSpPr>
          <p:nvPr/>
        </p:nvSpPr>
        <p:spPr>
          <a:xfrm>
            <a:off x="555389" y="1979344"/>
            <a:ext cx="11163206" cy="4280852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We will enable analytic consumers to find, access, integrate, prepare and analyze data without the need to contact I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We will enable consumers to discover data in the semantic library, collaborate with the owners of that data to drive clear data understanding and improve data qual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We will support the creation of temporary exploration workspaces for data scientists to store acquired data, test hypothesis and develop analytical models that uncover new insigh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We will provide the ability to manage analytical data stores consuming data from UDF which may also need to include other external data sources from UDF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We will understand what data assets are being used by consumers and promote new data source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We will ensure data security,  compliance, and privacy rules are enforced</a:t>
            </a:r>
          </a:p>
        </p:txBody>
      </p:sp>
    </p:spTree>
    <p:extLst>
      <p:ext uri="{BB962C8B-B14F-4D97-AF65-F5344CB8AC3E}">
        <p14:creationId xmlns:p14="http://schemas.microsoft.com/office/powerpoint/2010/main" val="4123080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1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6876" y="172245"/>
            <a:ext cx="9686100" cy="476805"/>
          </a:xfrm>
        </p:spPr>
        <p:txBody>
          <a:bodyPr/>
          <a:lstStyle/>
          <a:p>
            <a:r>
              <a:rPr lang="en-US" dirty="0"/>
              <a:t>Unified Data Platform (UDP)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46877" y="707014"/>
            <a:ext cx="9686099" cy="776102"/>
          </a:xfrm>
        </p:spPr>
        <p:txBody>
          <a:bodyPr/>
          <a:lstStyle/>
          <a:p>
            <a:r>
              <a:rPr lang="en-US" dirty="0"/>
              <a:t>We believe UDP provides the tools and technology that support UDF, AF and the additional data not identified as CVS Health enterprise strategic data assets</a:t>
            </a:r>
          </a:p>
        </p:txBody>
      </p:sp>
      <p:sp>
        <p:nvSpPr>
          <p:cNvPr id="5" name="Rectangle 4"/>
          <p:cNvSpPr/>
          <p:nvPr/>
        </p:nvSpPr>
        <p:spPr>
          <a:xfrm>
            <a:off x="446876" y="1705446"/>
            <a:ext cx="11487621" cy="464541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75000"/>
              </a:schemeClr>
            </a:solidFill>
          </a:ln>
          <a:effectLst>
            <a:outerShdw blurRad="254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Open Sans Bold"/>
              <a:cs typeface="Open Sans Bold"/>
            </a:endParaRPr>
          </a:p>
        </p:txBody>
      </p:sp>
      <p:sp>
        <p:nvSpPr>
          <p:cNvPr id="4" name="Text Placeholder 1"/>
          <p:cNvSpPr txBox="1">
            <a:spLocks/>
          </p:cNvSpPr>
          <p:nvPr/>
        </p:nvSpPr>
        <p:spPr>
          <a:xfrm>
            <a:off x="666795" y="1828800"/>
            <a:ext cx="11075153" cy="4469011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e will provide an integrated set of tools and technology that accelerate and simplify the acquisition, organization, analyzing and delivery of data for analytic consum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e will provide the tools to acquire all types of data sources including external, streaming/in motion operational,  and centralized data needed by analytical consum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e will provide the tools and technology to integrate, transform, and aggregate data for our consum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e will organize data within the platform, capturing metadata across the data lifecycle and providing stewardship tools to manage and collaborate about data within the platfor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e will provide simple and efficient self-service tooling for analytics consumers to use data within the platform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e will support tools that provide augmented analytics and  machine learn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e will secure, manage and provide a highly available data platform supports our business analytical need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5801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0"/>
            <a:ext cx="12188825" cy="47320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Open Sans Bold"/>
              <a:cs typeface="Open Sans Bold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" y="0"/>
            <a:ext cx="6126479" cy="4732020"/>
          </a:xfrm>
          <a:prstGeom prst="rect">
            <a:avLst/>
          </a:prstGeom>
        </p:spPr>
      </p:pic>
      <p:grpSp>
        <p:nvGrpSpPr>
          <p:cNvPr id="4" name="Group 3"/>
          <p:cNvGrpSpPr/>
          <p:nvPr/>
        </p:nvGrpSpPr>
        <p:grpSpPr>
          <a:xfrm>
            <a:off x="10005953" y="5926238"/>
            <a:ext cx="1694204" cy="429644"/>
            <a:chOff x="5518839" y="6290820"/>
            <a:chExt cx="1249434" cy="316852"/>
          </a:xfrm>
          <a:solidFill>
            <a:schemeClr val="bg1"/>
          </a:solidFill>
        </p:grpSpPr>
        <p:sp>
          <p:nvSpPr>
            <p:cNvPr id="5" name="Freeform 5"/>
            <p:cNvSpPr>
              <a:spLocks noEditPoints="1"/>
            </p:cNvSpPr>
            <p:nvPr userDrawn="1"/>
          </p:nvSpPr>
          <p:spPr bwMode="auto">
            <a:xfrm>
              <a:off x="5518839" y="6290820"/>
              <a:ext cx="1167929" cy="316852"/>
            </a:xfrm>
            <a:custGeom>
              <a:avLst/>
              <a:gdLst>
                <a:gd name="T0" fmla="*/ 610 w 1071"/>
                <a:gd name="T1" fmla="*/ 283 h 288"/>
                <a:gd name="T2" fmla="*/ 486 w 1071"/>
                <a:gd name="T3" fmla="*/ 216 h 288"/>
                <a:gd name="T4" fmla="*/ 462 w 1071"/>
                <a:gd name="T5" fmla="*/ 108 h 288"/>
                <a:gd name="T6" fmla="*/ 518 w 1071"/>
                <a:gd name="T7" fmla="*/ 0 h 288"/>
                <a:gd name="T8" fmla="*/ 558 w 1071"/>
                <a:gd name="T9" fmla="*/ 60 h 288"/>
                <a:gd name="T10" fmla="*/ 603 w 1071"/>
                <a:gd name="T11" fmla="*/ 108 h 288"/>
                <a:gd name="T12" fmla="*/ 557 w 1071"/>
                <a:gd name="T13" fmla="*/ 195 h 288"/>
                <a:gd name="T14" fmla="*/ 607 w 1071"/>
                <a:gd name="T15" fmla="*/ 233 h 288"/>
                <a:gd name="T16" fmla="*/ 844 w 1071"/>
                <a:gd name="T17" fmla="*/ 135 h 288"/>
                <a:gd name="T18" fmla="*/ 638 w 1071"/>
                <a:gd name="T19" fmla="*/ 60 h 288"/>
                <a:gd name="T20" fmla="*/ 638 w 1071"/>
                <a:gd name="T21" fmla="*/ 283 h 288"/>
                <a:gd name="T22" fmla="*/ 710 w 1071"/>
                <a:gd name="T23" fmla="*/ 179 h 288"/>
                <a:gd name="T24" fmla="*/ 739 w 1071"/>
                <a:gd name="T25" fmla="*/ 99 h 288"/>
                <a:gd name="T26" fmla="*/ 774 w 1071"/>
                <a:gd name="T27" fmla="*/ 179 h 288"/>
                <a:gd name="T28" fmla="*/ 847 w 1071"/>
                <a:gd name="T29" fmla="*/ 283 h 288"/>
                <a:gd name="T30" fmla="*/ 340 w 1071"/>
                <a:gd name="T31" fmla="*/ 189 h 288"/>
                <a:gd name="T32" fmla="*/ 311 w 1071"/>
                <a:gd name="T33" fmla="*/ 190 h 288"/>
                <a:gd name="T34" fmla="*/ 431 w 1071"/>
                <a:gd name="T35" fmla="*/ 226 h 288"/>
                <a:gd name="T36" fmla="*/ 360 w 1071"/>
                <a:gd name="T37" fmla="*/ 288 h 288"/>
                <a:gd name="T38" fmla="*/ 195 w 1071"/>
                <a:gd name="T39" fmla="*/ 187 h 288"/>
                <a:gd name="T40" fmla="*/ 198 w 1071"/>
                <a:gd name="T41" fmla="*/ 283 h 288"/>
                <a:gd name="T42" fmla="*/ 0 w 1071"/>
                <a:gd name="T43" fmla="*/ 215 h 288"/>
                <a:gd name="T44" fmla="*/ 126 w 1071"/>
                <a:gd name="T45" fmla="*/ 148 h 288"/>
                <a:gd name="T46" fmla="*/ 84 w 1071"/>
                <a:gd name="T47" fmla="*/ 99 h 288"/>
                <a:gd name="T48" fmla="*/ 20 w 1071"/>
                <a:gd name="T49" fmla="*/ 65 h 288"/>
                <a:gd name="T50" fmla="*/ 197 w 1071"/>
                <a:gd name="T51" fmla="*/ 138 h 288"/>
                <a:gd name="T52" fmla="*/ 237 w 1071"/>
                <a:gd name="T53" fmla="*/ 149 h 288"/>
                <a:gd name="T54" fmla="*/ 445 w 1071"/>
                <a:gd name="T55" fmla="*/ 120 h 288"/>
                <a:gd name="T56" fmla="*/ 125 w 1071"/>
                <a:gd name="T57" fmla="*/ 242 h 288"/>
                <a:gd name="T58" fmla="*/ 115 w 1071"/>
                <a:gd name="T59" fmla="*/ 186 h 288"/>
                <a:gd name="T60" fmla="*/ 104 w 1071"/>
                <a:gd name="T61" fmla="*/ 244 h 288"/>
                <a:gd name="T62" fmla="*/ 332 w 1071"/>
                <a:gd name="T63" fmla="*/ 151 h 288"/>
                <a:gd name="T64" fmla="*/ 350 w 1071"/>
                <a:gd name="T65" fmla="*/ 95 h 288"/>
                <a:gd name="T66" fmla="*/ 311 w 1071"/>
                <a:gd name="T67" fmla="*/ 150 h 288"/>
                <a:gd name="T68" fmla="*/ 1071 w 1071"/>
                <a:gd name="T69" fmla="*/ 283 h 288"/>
                <a:gd name="T70" fmla="*/ 873 w 1071"/>
                <a:gd name="T71" fmla="*/ 215 h 288"/>
                <a:gd name="T72" fmla="*/ 999 w 1071"/>
                <a:gd name="T73" fmla="*/ 148 h 288"/>
                <a:gd name="T74" fmla="*/ 958 w 1071"/>
                <a:gd name="T75" fmla="*/ 99 h 288"/>
                <a:gd name="T76" fmla="*/ 893 w 1071"/>
                <a:gd name="T77" fmla="*/ 65 h 288"/>
                <a:gd name="T78" fmla="*/ 1070 w 1071"/>
                <a:gd name="T79" fmla="*/ 138 h 288"/>
                <a:gd name="T80" fmla="*/ 1071 w 1071"/>
                <a:gd name="T81" fmla="*/ 283 h 288"/>
                <a:gd name="T82" fmla="*/ 998 w 1071"/>
                <a:gd name="T83" fmla="*/ 186 h 288"/>
                <a:gd name="T84" fmla="*/ 943 w 1071"/>
                <a:gd name="T85" fmla="*/ 216 h 288"/>
                <a:gd name="T86" fmla="*/ 998 w 1071"/>
                <a:gd name="T87" fmla="*/ 242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071" h="288">
                  <a:moveTo>
                    <a:pt x="607" y="233"/>
                  </a:moveTo>
                  <a:cubicBezTo>
                    <a:pt x="610" y="283"/>
                    <a:pt x="610" y="283"/>
                    <a:pt x="610" y="283"/>
                  </a:cubicBezTo>
                  <a:cubicBezTo>
                    <a:pt x="604" y="284"/>
                    <a:pt x="587" y="288"/>
                    <a:pt x="562" y="288"/>
                  </a:cubicBezTo>
                  <a:cubicBezTo>
                    <a:pt x="513" y="288"/>
                    <a:pt x="486" y="267"/>
                    <a:pt x="486" y="216"/>
                  </a:cubicBezTo>
                  <a:cubicBezTo>
                    <a:pt x="486" y="176"/>
                    <a:pt x="487" y="132"/>
                    <a:pt x="488" y="108"/>
                  </a:cubicBezTo>
                  <a:cubicBezTo>
                    <a:pt x="462" y="108"/>
                    <a:pt x="462" y="108"/>
                    <a:pt x="462" y="108"/>
                  </a:cubicBezTo>
                  <a:cubicBezTo>
                    <a:pt x="462" y="97"/>
                    <a:pt x="462" y="82"/>
                    <a:pt x="462" y="70"/>
                  </a:cubicBezTo>
                  <a:cubicBezTo>
                    <a:pt x="500" y="64"/>
                    <a:pt x="513" y="42"/>
                    <a:pt x="518" y="0"/>
                  </a:cubicBezTo>
                  <a:cubicBezTo>
                    <a:pt x="561" y="0"/>
                    <a:pt x="561" y="0"/>
                    <a:pt x="561" y="0"/>
                  </a:cubicBezTo>
                  <a:cubicBezTo>
                    <a:pt x="559" y="17"/>
                    <a:pt x="558" y="43"/>
                    <a:pt x="558" y="60"/>
                  </a:cubicBezTo>
                  <a:cubicBezTo>
                    <a:pt x="603" y="60"/>
                    <a:pt x="603" y="60"/>
                    <a:pt x="603" y="60"/>
                  </a:cubicBezTo>
                  <a:cubicBezTo>
                    <a:pt x="603" y="108"/>
                    <a:pt x="603" y="108"/>
                    <a:pt x="603" y="108"/>
                  </a:cubicBezTo>
                  <a:cubicBezTo>
                    <a:pt x="557" y="108"/>
                    <a:pt x="557" y="108"/>
                    <a:pt x="557" y="108"/>
                  </a:cubicBezTo>
                  <a:cubicBezTo>
                    <a:pt x="557" y="195"/>
                    <a:pt x="557" y="195"/>
                    <a:pt x="557" y="195"/>
                  </a:cubicBezTo>
                  <a:cubicBezTo>
                    <a:pt x="557" y="229"/>
                    <a:pt x="564" y="238"/>
                    <a:pt x="587" y="238"/>
                  </a:cubicBezTo>
                  <a:cubicBezTo>
                    <a:pt x="594" y="238"/>
                    <a:pt x="603" y="236"/>
                    <a:pt x="607" y="233"/>
                  </a:cubicBezTo>
                  <a:close/>
                  <a:moveTo>
                    <a:pt x="844" y="179"/>
                  </a:moveTo>
                  <a:cubicBezTo>
                    <a:pt x="844" y="160"/>
                    <a:pt x="844" y="135"/>
                    <a:pt x="844" y="135"/>
                  </a:cubicBezTo>
                  <a:cubicBezTo>
                    <a:pt x="844" y="78"/>
                    <a:pt x="820" y="53"/>
                    <a:pt x="749" y="53"/>
                  </a:cubicBezTo>
                  <a:cubicBezTo>
                    <a:pt x="710" y="53"/>
                    <a:pt x="682" y="60"/>
                    <a:pt x="638" y="60"/>
                  </a:cubicBezTo>
                  <a:cubicBezTo>
                    <a:pt x="641" y="99"/>
                    <a:pt x="641" y="149"/>
                    <a:pt x="640" y="179"/>
                  </a:cubicBezTo>
                  <a:cubicBezTo>
                    <a:pt x="641" y="210"/>
                    <a:pt x="639" y="265"/>
                    <a:pt x="638" y="283"/>
                  </a:cubicBezTo>
                  <a:cubicBezTo>
                    <a:pt x="713" y="283"/>
                    <a:pt x="713" y="283"/>
                    <a:pt x="713" y="283"/>
                  </a:cubicBezTo>
                  <a:cubicBezTo>
                    <a:pt x="712" y="265"/>
                    <a:pt x="710" y="214"/>
                    <a:pt x="710" y="179"/>
                  </a:cubicBezTo>
                  <a:cubicBezTo>
                    <a:pt x="710" y="159"/>
                    <a:pt x="711" y="135"/>
                    <a:pt x="711" y="103"/>
                  </a:cubicBezTo>
                  <a:cubicBezTo>
                    <a:pt x="719" y="100"/>
                    <a:pt x="728" y="99"/>
                    <a:pt x="739" y="99"/>
                  </a:cubicBezTo>
                  <a:cubicBezTo>
                    <a:pt x="765" y="99"/>
                    <a:pt x="774" y="111"/>
                    <a:pt x="774" y="145"/>
                  </a:cubicBezTo>
                  <a:cubicBezTo>
                    <a:pt x="774" y="145"/>
                    <a:pt x="774" y="166"/>
                    <a:pt x="774" y="179"/>
                  </a:cubicBezTo>
                  <a:cubicBezTo>
                    <a:pt x="774" y="210"/>
                    <a:pt x="773" y="265"/>
                    <a:pt x="772" y="283"/>
                  </a:cubicBezTo>
                  <a:cubicBezTo>
                    <a:pt x="847" y="283"/>
                    <a:pt x="847" y="283"/>
                    <a:pt x="847" y="283"/>
                  </a:cubicBezTo>
                  <a:cubicBezTo>
                    <a:pt x="845" y="265"/>
                    <a:pt x="844" y="214"/>
                    <a:pt x="844" y="179"/>
                  </a:cubicBezTo>
                  <a:close/>
                  <a:moveTo>
                    <a:pt x="340" y="189"/>
                  </a:moveTo>
                  <a:cubicBezTo>
                    <a:pt x="332" y="189"/>
                    <a:pt x="318" y="189"/>
                    <a:pt x="311" y="188"/>
                  </a:cubicBezTo>
                  <a:cubicBezTo>
                    <a:pt x="311" y="190"/>
                    <a:pt x="311" y="190"/>
                    <a:pt x="311" y="190"/>
                  </a:cubicBezTo>
                  <a:cubicBezTo>
                    <a:pt x="311" y="222"/>
                    <a:pt x="332" y="242"/>
                    <a:pt x="371" y="242"/>
                  </a:cubicBezTo>
                  <a:cubicBezTo>
                    <a:pt x="395" y="242"/>
                    <a:pt x="416" y="235"/>
                    <a:pt x="431" y="226"/>
                  </a:cubicBezTo>
                  <a:cubicBezTo>
                    <a:pt x="434" y="276"/>
                    <a:pt x="434" y="276"/>
                    <a:pt x="434" y="276"/>
                  </a:cubicBezTo>
                  <a:cubicBezTo>
                    <a:pt x="419" y="283"/>
                    <a:pt x="389" y="288"/>
                    <a:pt x="360" y="288"/>
                  </a:cubicBezTo>
                  <a:cubicBezTo>
                    <a:pt x="281" y="288"/>
                    <a:pt x="243" y="261"/>
                    <a:pt x="237" y="188"/>
                  </a:cubicBezTo>
                  <a:cubicBezTo>
                    <a:pt x="228" y="187"/>
                    <a:pt x="214" y="187"/>
                    <a:pt x="195" y="187"/>
                  </a:cubicBezTo>
                  <a:cubicBezTo>
                    <a:pt x="195" y="200"/>
                    <a:pt x="194" y="211"/>
                    <a:pt x="194" y="220"/>
                  </a:cubicBezTo>
                  <a:cubicBezTo>
                    <a:pt x="194" y="238"/>
                    <a:pt x="195" y="265"/>
                    <a:pt x="198" y="283"/>
                  </a:cubicBezTo>
                  <a:cubicBezTo>
                    <a:pt x="154" y="283"/>
                    <a:pt x="121" y="288"/>
                    <a:pt x="87" y="288"/>
                  </a:cubicBezTo>
                  <a:cubicBezTo>
                    <a:pt x="22" y="288"/>
                    <a:pt x="0" y="261"/>
                    <a:pt x="0" y="215"/>
                  </a:cubicBezTo>
                  <a:cubicBezTo>
                    <a:pt x="0" y="171"/>
                    <a:pt x="36" y="147"/>
                    <a:pt x="115" y="147"/>
                  </a:cubicBezTo>
                  <a:cubicBezTo>
                    <a:pt x="118" y="147"/>
                    <a:pt x="123" y="147"/>
                    <a:pt x="126" y="148"/>
                  </a:cubicBezTo>
                  <a:cubicBezTo>
                    <a:pt x="126" y="143"/>
                    <a:pt x="126" y="143"/>
                    <a:pt x="126" y="143"/>
                  </a:cubicBezTo>
                  <a:cubicBezTo>
                    <a:pt x="126" y="112"/>
                    <a:pt x="116" y="99"/>
                    <a:pt x="84" y="99"/>
                  </a:cubicBezTo>
                  <a:cubicBezTo>
                    <a:pt x="62" y="99"/>
                    <a:pt x="38" y="107"/>
                    <a:pt x="23" y="115"/>
                  </a:cubicBezTo>
                  <a:cubicBezTo>
                    <a:pt x="20" y="65"/>
                    <a:pt x="20" y="65"/>
                    <a:pt x="20" y="65"/>
                  </a:cubicBezTo>
                  <a:cubicBezTo>
                    <a:pt x="38" y="58"/>
                    <a:pt x="68" y="53"/>
                    <a:pt x="102" y="53"/>
                  </a:cubicBezTo>
                  <a:cubicBezTo>
                    <a:pt x="171" y="53"/>
                    <a:pt x="197" y="75"/>
                    <a:pt x="197" y="138"/>
                  </a:cubicBezTo>
                  <a:cubicBezTo>
                    <a:pt x="197" y="141"/>
                    <a:pt x="197" y="145"/>
                    <a:pt x="197" y="148"/>
                  </a:cubicBezTo>
                  <a:cubicBezTo>
                    <a:pt x="213" y="148"/>
                    <a:pt x="226" y="149"/>
                    <a:pt x="237" y="149"/>
                  </a:cubicBezTo>
                  <a:cubicBezTo>
                    <a:pt x="244" y="87"/>
                    <a:pt x="275" y="53"/>
                    <a:pt x="352" y="53"/>
                  </a:cubicBezTo>
                  <a:cubicBezTo>
                    <a:pt x="416" y="53"/>
                    <a:pt x="445" y="80"/>
                    <a:pt x="445" y="120"/>
                  </a:cubicBezTo>
                  <a:cubicBezTo>
                    <a:pt x="445" y="167"/>
                    <a:pt x="410" y="189"/>
                    <a:pt x="340" y="189"/>
                  </a:cubicBezTo>
                  <a:close/>
                  <a:moveTo>
                    <a:pt x="125" y="242"/>
                  </a:moveTo>
                  <a:cubicBezTo>
                    <a:pt x="124" y="226"/>
                    <a:pt x="124" y="205"/>
                    <a:pt x="125" y="186"/>
                  </a:cubicBezTo>
                  <a:cubicBezTo>
                    <a:pt x="122" y="186"/>
                    <a:pt x="118" y="186"/>
                    <a:pt x="115" y="186"/>
                  </a:cubicBezTo>
                  <a:cubicBezTo>
                    <a:pt x="82" y="186"/>
                    <a:pt x="69" y="197"/>
                    <a:pt x="69" y="216"/>
                  </a:cubicBezTo>
                  <a:cubicBezTo>
                    <a:pt x="69" y="236"/>
                    <a:pt x="80" y="244"/>
                    <a:pt x="104" y="244"/>
                  </a:cubicBezTo>
                  <a:cubicBezTo>
                    <a:pt x="111" y="244"/>
                    <a:pt x="119" y="243"/>
                    <a:pt x="125" y="242"/>
                  </a:cubicBezTo>
                  <a:close/>
                  <a:moveTo>
                    <a:pt x="332" y="151"/>
                  </a:moveTo>
                  <a:cubicBezTo>
                    <a:pt x="362" y="151"/>
                    <a:pt x="377" y="141"/>
                    <a:pt x="377" y="119"/>
                  </a:cubicBezTo>
                  <a:cubicBezTo>
                    <a:pt x="377" y="103"/>
                    <a:pt x="366" y="95"/>
                    <a:pt x="350" y="95"/>
                  </a:cubicBezTo>
                  <a:cubicBezTo>
                    <a:pt x="321" y="95"/>
                    <a:pt x="311" y="118"/>
                    <a:pt x="311" y="149"/>
                  </a:cubicBezTo>
                  <a:cubicBezTo>
                    <a:pt x="311" y="150"/>
                    <a:pt x="311" y="150"/>
                    <a:pt x="311" y="150"/>
                  </a:cubicBezTo>
                  <a:cubicBezTo>
                    <a:pt x="317" y="151"/>
                    <a:pt x="325" y="151"/>
                    <a:pt x="332" y="151"/>
                  </a:cubicBezTo>
                  <a:close/>
                  <a:moveTo>
                    <a:pt x="1071" y="283"/>
                  </a:moveTo>
                  <a:cubicBezTo>
                    <a:pt x="1028" y="283"/>
                    <a:pt x="994" y="288"/>
                    <a:pt x="960" y="288"/>
                  </a:cubicBezTo>
                  <a:cubicBezTo>
                    <a:pt x="896" y="288"/>
                    <a:pt x="873" y="261"/>
                    <a:pt x="873" y="215"/>
                  </a:cubicBezTo>
                  <a:cubicBezTo>
                    <a:pt x="873" y="171"/>
                    <a:pt x="909" y="147"/>
                    <a:pt x="988" y="147"/>
                  </a:cubicBezTo>
                  <a:cubicBezTo>
                    <a:pt x="991" y="147"/>
                    <a:pt x="997" y="147"/>
                    <a:pt x="999" y="148"/>
                  </a:cubicBezTo>
                  <a:cubicBezTo>
                    <a:pt x="999" y="143"/>
                    <a:pt x="999" y="143"/>
                    <a:pt x="999" y="143"/>
                  </a:cubicBezTo>
                  <a:cubicBezTo>
                    <a:pt x="999" y="112"/>
                    <a:pt x="989" y="99"/>
                    <a:pt x="958" y="99"/>
                  </a:cubicBezTo>
                  <a:cubicBezTo>
                    <a:pt x="935" y="99"/>
                    <a:pt x="912" y="107"/>
                    <a:pt x="896" y="115"/>
                  </a:cubicBezTo>
                  <a:cubicBezTo>
                    <a:pt x="893" y="65"/>
                    <a:pt x="893" y="65"/>
                    <a:pt x="893" y="65"/>
                  </a:cubicBezTo>
                  <a:cubicBezTo>
                    <a:pt x="911" y="58"/>
                    <a:pt x="941" y="53"/>
                    <a:pt x="975" y="53"/>
                  </a:cubicBezTo>
                  <a:cubicBezTo>
                    <a:pt x="1044" y="53"/>
                    <a:pt x="1070" y="75"/>
                    <a:pt x="1070" y="138"/>
                  </a:cubicBezTo>
                  <a:cubicBezTo>
                    <a:pt x="1070" y="171"/>
                    <a:pt x="1068" y="200"/>
                    <a:pt x="1068" y="220"/>
                  </a:cubicBezTo>
                  <a:cubicBezTo>
                    <a:pt x="1068" y="238"/>
                    <a:pt x="1068" y="265"/>
                    <a:pt x="1071" y="283"/>
                  </a:cubicBezTo>
                  <a:close/>
                  <a:moveTo>
                    <a:pt x="998" y="242"/>
                  </a:moveTo>
                  <a:cubicBezTo>
                    <a:pt x="997" y="226"/>
                    <a:pt x="998" y="205"/>
                    <a:pt x="998" y="186"/>
                  </a:cubicBezTo>
                  <a:cubicBezTo>
                    <a:pt x="995" y="186"/>
                    <a:pt x="991" y="186"/>
                    <a:pt x="988" y="186"/>
                  </a:cubicBezTo>
                  <a:cubicBezTo>
                    <a:pt x="956" y="186"/>
                    <a:pt x="943" y="197"/>
                    <a:pt x="943" y="216"/>
                  </a:cubicBezTo>
                  <a:cubicBezTo>
                    <a:pt x="943" y="236"/>
                    <a:pt x="953" y="244"/>
                    <a:pt x="977" y="244"/>
                  </a:cubicBezTo>
                  <a:cubicBezTo>
                    <a:pt x="984" y="244"/>
                    <a:pt x="993" y="243"/>
                    <a:pt x="998" y="24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" name="Freeform 6"/>
            <p:cNvSpPr>
              <a:spLocks noEditPoints="1"/>
            </p:cNvSpPr>
            <p:nvPr userDrawn="1"/>
          </p:nvSpPr>
          <p:spPr bwMode="auto">
            <a:xfrm>
              <a:off x="6699791" y="6340239"/>
              <a:ext cx="68482" cy="73152"/>
            </a:xfrm>
            <a:custGeom>
              <a:avLst/>
              <a:gdLst>
                <a:gd name="T0" fmla="*/ 5 w 37"/>
                <a:gd name="T1" fmla="*/ 33 h 39"/>
                <a:gd name="T2" fmla="*/ 1 w 37"/>
                <a:gd name="T3" fmla="*/ 27 h 39"/>
                <a:gd name="T4" fmla="*/ 0 w 37"/>
                <a:gd name="T5" fmla="*/ 20 h 39"/>
                <a:gd name="T6" fmla="*/ 1 w 37"/>
                <a:gd name="T7" fmla="*/ 12 h 39"/>
                <a:gd name="T8" fmla="*/ 5 w 37"/>
                <a:gd name="T9" fmla="*/ 6 h 39"/>
                <a:gd name="T10" fmla="*/ 11 w 37"/>
                <a:gd name="T11" fmla="*/ 2 h 39"/>
                <a:gd name="T12" fmla="*/ 18 w 37"/>
                <a:gd name="T13" fmla="*/ 0 h 39"/>
                <a:gd name="T14" fmla="*/ 26 w 37"/>
                <a:gd name="T15" fmla="*/ 2 h 39"/>
                <a:gd name="T16" fmla="*/ 32 w 37"/>
                <a:gd name="T17" fmla="*/ 6 h 39"/>
                <a:gd name="T18" fmla="*/ 36 w 37"/>
                <a:gd name="T19" fmla="*/ 12 h 39"/>
                <a:gd name="T20" fmla="*/ 37 w 37"/>
                <a:gd name="T21" fmla="*/ 20 h 39"/>
                <a:gd name="T22" fmla="*/ 36 w 37"/>
                <a:gd name="T23" fmla="*/ 27 h 39"/>
                <a:gd name="T24" fmla="*/ 32 w 37"/>
                <a:gd name="T25" fmla="*/ 33 h 39"/>
                <a:gd name="T26" fmla="*/ 26 w 37"/>
                <a:gd name="T27" fmla="*/ 38 h 39"/>
                <a:gd name="T28" fmla="*/ 18 w 37"/>
                <a:gd name="T29" fmla="*/ 39 h 39"/>
                <a:gd name="T30" fmla="*/ 11 w 37"/>
                <a:gd name="T31" fmla="*/ 38 h 39"/>
                <a:gd name="T32" fmla="*/ 5 w 37"/>
                <a:gd name="T33" fmla="*/ 33 h 39"/>
                <a:gd name="T34" fmla="*/ 12 w 37"/>
                <a:gd name="T35" fmla="*/ 35 h 39"/>
                <a:gd name="T36" fmla="*/ 18 w 37"/>
                <a:gd name="T37" fmla="*/ 36 h 39"/>
                <a:gd name="T38" fmla="*/ 25 w 37"/>
                <a:gd name="T39" fmla="*/ 35 h 39"/>
                <a:gd name="T40" fmla="*/ 30 w 37"/>
                <a:gd name="T41" fmla="*/ 31 h 39"/>
                <a:gd name="T42" fmla="*/ 33 w 37"/>
                <a:gd name="T43" fmla="*/ 26 h 39"/>
                <a:gd name="T44" fmla="*/ 34 w 37"/>
                <a:gd name="T45" fmla="*/ 20 h 39"/>
                <a:gd name="T46" fmla="*/ 33 w 37"/>
                <a:gd name="T47" fmla="*/ 13 h 39"/>
                <a:gd name="T48" fmla="*/ 30 w 37"/>
                <a:gd name="T49" fmla="*/ 8 h 39"/>
                <a:gd name="T50" fmla="*/ 25 w 37"/>
                <a:gd name="T51" fmla="*/ 5 h 39"/>
                <a:gd name="T52" fmla="*/ 18 w 37"/>
                <a:gd name="T53" fmla="*/ 3 h 39"/>
                <a:gd name="T54" fmla="*/ 12 w 37"/>
                <a:gd name="T55" fmla="*/ 5 h 39"/>
                <a:gd name="T56" fmla="*/ 7 w 37"/>
                <a:gd name="T57" fmla="*/ 8 h 39"/>
                <a:gd name="T58" fmla="*/ 4 w 37"/>
                <a:gd name="T59" fmla="*/ 13 h 39"/>
                <a:gd name="T60" fmla="*/ 3 w 37"/>
                <a:gd name="T61" fmla="*/ 20 h 39"/>
                <a:gd name="T62" fmla="*/ 5 w 37"/>
                <a:gd name="T63" fmla="*/ 29 h 39"/>
                <a:gd name="T64" fmla="*/ 12 w 37"/>
                <a:gd name="T65" fmla="*/ 35 h 39"/>
                <a:gd name="T66" fmla="*/ 11 w 37"/>
                <a:gd name="T67" fmla="*/ 8 h 39"/>
                <a:gd name="T68" fmla="*/ 15 w 37"/>
                <a:gd name="T69" fmla="*/ 7 h 39"/>
                <a:gd name="T70" fmla="*/ 18 w 37"/>
                <a:gd name="T71" fmla="*/ 7 h 39"/>
                <a:gd name="T72" fmla="*/ 25 w 37"/>
                <a:gd name="T73" fmla="*/ 9 h 39"/>
                <a:gd name="T74" fmla="*/ 27 w 37"/>
                <a:gd name="T75" fmla="*/ 14 h 39"/>
                <a:gd name="T76" fmla="*/ 27 w 37"/>
                <a:gd name="T77" fmla="*/ 17 h 39"/>
                <a:gd name="T78" fmla="*/ 25 w 37"/>
                <a:gd name="T79" fmla="*/ 19 h 39"/>
                <a:gd name="T80" fmla="*/ 24 w 37"/>
                <a:gd name="T81" fmla="*/ 21 h 39"/>
                <a:gd name="T82" fmla="*/ 22 w 37"/>
                <a:gd name="T83" fmla="*/ 21 h 39"/>
                <a:gd name="T84" fmla="*/ 22 w 37"/>
                <a:gd name="T85" fmla="*/ 21 h 39"/>
                <a:gd name="T86" fmla="*/ 28 w 37"/>
                <a:gd name="T87" fmla="*/ 31 h 39"/>
                <a:gd name="T88" fmla="*/ 27 w 37"/>
                <a:gd name="T89" fmla="*/ 31 h 39"/>
                <a:gd name="T90" fmla="*/ 26 w 37"/>
                <a:gd name="T91" fmla="*/ 31 h 39"/>
                <a:gd name="T92" fmla="*/ 24 w 37"/>
                <a:gd name="T93" fmla="*/ 31 h 39"/>
                <a:gd name="T94" fmla="*/ 23 w 37"/>
                <a:gd name="T95" fmla="*/ 30 h 39"/>
                <a:gd name="T96" fmla="*/ 18 w 37"/>
                <a:gd name="T97" fmla="*/ 22 h 39"/>
                <a:gd name="T98" fmla="*/ 15 w 37"/>
                <a:gd name="T99" fmla="*/ 22 h 39"/>
                <a:gd name="T100" fmla="*/ 15 w 37"/>
                <a:gd name="T101" fmla="*/ 31 h 39"/>
                <a:gd name="T102" fmla="*/ 11 w 37"/>
                <a:gd name="T103" fmla="*/ 31 h 39"/>
                <a:gd name="T104" fmla="*/ 11 w 37"/>
                <a:gd name="T105" fmla="*/ 8 h 39"/>
                <a:gd name="T106" fmla="*/ 19 w 37"/>
                <a:gd name="T107" fmla="*/ 19 h 39"/>
                <a:gd name="T108" fmla="*/ 23 w 37"/>
                <a:gd name="T109" fmla="*/ 14 h 39"/>
                <a:gd name="T110" fmla="*/ 22 w 37"/>
                <a:gd name="T111" fmla="*/ 12 h 39"/>
                <a:gd name="T112" fmla="*/ 18 w 37"/>
                <a:gd name="T113" fmla="*/ 11 h 39"/>
                <a:gd name="T114" fmla="*/ 16 w 37"/>
                <a:gd name="T115" fmla="*/ 11 h 39"/>
                <a:gd name="T116" fmla="*/ 15 w 37"/>
                <a:gd name="T117" fmla="*/ 11 h 39"/>
                <a:gd name="T118" fmla="*/ 15 w 37"/>
                <a:gd name="T119" fmla="*/ 11 h 39"/>
                <a:gd name="T120" fmla="*/ 15 w 37"/>
                <a:gd name="T121" fmla="*/ 19 h 39"/>
                <a:gd name="T122" fmla="*/ 19 w 37"/>
                <a:gd name="T123" fmla="*/ 1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7" h="39">
                  <a:moveTo>
                    <a:pt x="5" y="33"/>
                  </a:moveTo>
                  <a:cubicBezTo>
                    <a:pt x="3" y="32"/>
                    <a:pt x="2" y="30"/>
                    <a:pt x="1" y="27"/>
                  </a:cubicBezTo>
                  <a:cubicBezTo>
                    <a:pt x="0" y="25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10"/>
                    <a:pt x="3" y="8"/>
                    <a:pt x="5" y="6"/>
                  </a:cubicBezTo>
                  <a:cubicBezTo>
                    <a:pt x="6" y="4"/>
                    <a:pt x="8" y="3"/>
                    <a:pt x="11" y="2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1" y="0"/>
                    <a:pt x="24" y="1"/>
                    <a:pt x="26" y="2"/>
                  </a:cubicBezTo>
                  <a:cubicBezTo>
                    <a:pt x="29" y="3"/>
                    <a:pt x="30" y="4"/>
                    <a:pt x="32" y="6"/>
                  </a:cubicBezTo>
                  <a:cubicBezTo>
                    <a:pt x="34" y="8"/>
                    <a:pt x="35" y="10"/>
                    <a:pt x="36" y="12"/>
                  </a:cubicBezTo>
                  <a:cubicBezTo>
                    <a:pt x="37" y="14"/>
                    <a:pt x="37" y="17"/>
                    <a:pt x="37" y="20"/>
                  </a:cubicBezTo>
                  <a:cubicBezTo>
                    <a:pt x="37" y="22"/>
                    <a:pt x="37" y="25"/>
                    <a:pt x="36" y="27"/>
                  </a:cubicBezTo>
                  <a:cubicBezTo>
                    <a:pt x="35" y="30"/>
                    <a:pt x="34" y="32"/>
                    <a:pt x="32" y="33"/>
                  </a:cubicBezTo>
                  <a:cubicBezTo>
                    <a:pt x="30" y="35"/>
                    <a:pt x="28" y="37"/>
                    <a:pt x="26" y="38"/>
                  </a:cubicBezTo>
                  <a:cubicBezTo>
                    <a:pt x="24" y="39"/>
                    <a:pt x="21" y="39"/>
                    <a:pt x="18" y="39"/>
                  </a:cubicBezTo>
                  <a:cubicBezTo>
                    <a:pt x="15" y="39"/>
                    <a:pt x="13" y="39"/>
                    <a:pt x="11" y="38"/>
                  </a:cubicBezTo>
                  <a:cubicBezTo>
                    <a:pt x="8" y="37"/>
                    <a:pt x="6" y="35"/>
                    <a:pt x="5" y="33"/>
                  </a:cubicBezTo>
                  <a:close/>
                  <a:moveTo>
                    <a:pt x="12" y="35"/>
                  </a:moveTo>
                  <a:cubicBezTo>
                    <a:pt x="14" y="36"/>
                    <a:pt x="16" y="36"/>
                    <a:pt x="18" y="36"/>
                  </a:cubicBezTo>
                  <a:cubicBezTo>
                    <a:pt x="21" y="36"/>
                    <a:pt x="23" y="36"/>
                    <a:pt x="25" y="35"/>
                  </a:cubicBezTo>
                  <a:cubicBezTo>
                    <a:pt x="27" y="34"/>
                    <a:pt x="28" y="33"/>
                    <a:pt x="30" y="31"/>
                  </a:cubicBezTo>
                  <a:cubicBezTo>
                    <a:pt x="31" y="30"/>
                    <a:pt x="32" y="28"/>
                    <a:pt x="33" y="26"/>
                  </a:cubicBezTo>
                  <a:cubicBezTo>
                    <a:pt x="33" y="24"/>
                    <a:pt x="34" y="22"/>
                    <a:pt x="34" y="20"/>
                  </a:cubicBezTo>
                  <a:cubicBezTo>
                    <a:pt x="34" y="17"/>
                    <a:pt x="33" y="15"/>
                    <a:pt x="33" y="13"/>
                  </a:cubicBezTo>
                  <a:cubicBezTo>
                    <a:pt x="32" y="11"/>
                    <a:pt x="31" y="10"/>
                    <a:pt x="30" y="8"/>
                  </a:cubicBezTo>
                  <a:cubicBezTo>
                    <a:pt x="28" y="7"/>
                    <a:pt x="27" y="5"/>
                    <a:pt x="25" y="5"/>
                  </a:cubicBezTo>
                  <a:cubicBezTo>
                    <a:pt x="23" y="4"/>
                    <a:pt x="21" y="3"/>
                    <a:pt x="18" y="3"/>
                  </a:cubicBezTo>
                  <a:cubicBezTo>
                    <a:pt x="16" y="3"/>
                    <a:pt x="14" y="4"/>
                    <a:pt x="12" y="5"/>
                  </a:cubicBezTo>
                  <a:cubicBezTo>
                    <a:pt x="10" y="5"/>
                    <a:pt x="9" y="7"/>
                    <a:pt x="7" y="8"/>
                  </a:cubicBezTo>
                  <a:cubicBezTo>
                    <a:pt x="6" y="10"/>
                    <a:pt x="5" y="11"/>
                    <a:pt x="4" y="13"/>
                  </a:cubicBezTo>
                  <a:cubicBezTo>
                    <a:pt x="4" y="15"/>
                    <a:pt x="3" y="17"/>
                    <a:pt x="3" y="20"/>
                  </a:cubicBezTo>
                  <a:cubicBezTo>
                    <a:pt x="3" y="23"/>
                    <a:pt x="4" y="26"/>
                    <a:pt x="5" y="29"/>
                  </a:cubicBezTo>
                  <a:cubicBezTo>
                    <a:pt x="7" y="31"/>
                    <a:pt x="9" y="33"/>
                    <a:pt x="12" y="35"/>
                  </a:cubicBezTo>
                  <a:close/>
                  <a:moveTo>
                    <a:pt x="11" y="8"/>
                  </a:moveTo>
                  <a:cubicBezTo>
                    <a:pt x="13" y="8"/>
                    <a:pt x="14" y="7"/>
                    <a:pt x="15" y="7"/>
                  </a:cubicBezTo>
                  <a:cubicBezTo>
                    <a:pt x="16" y="7"/>
                    <a:pt x="17" y="7"/>
                    <a:pt x="18" y="7"/>
                  </a:cubicBezTo>
                  <a:cubicBezTo>
                    <a:pt x="21" y="7"/>
                    <a:pt x="23" y="8"/>
                    <a:pt x="25" y="9"/>
                  </a:cubicBezTo>
                  <a:cubicBezTo>
                    <a:pt x="26" y="11"/>
                    <a:pt x="27" y="12"/>
                    <a:pt x="27" y="14"/>
                  </a:cubicBezTo>
                  <a:cubicBezTo>
                    <a:pt x="27" y="15"/>
                    <a:pt x="27" y="16"/>
                    <a:pt x="27" y="17"/>
                  </a:cubicBezTo>
                  <a:cubicBezTo>
                    <a:pt x="26" y="18"/>
                    <a:pt x="26" y="18"/>
                    <a:pt x="25" y="19"/>
                  </a:cubicBezTo>
                  <a:cubicBezTo>
                    <a:pt x="25" y="20"/>
                    <a:pt x="24" y="20"/>
                    <a:pt x="24" y="21"/>
                  </a:cubicBezTo>
                  <a:cubicBezTo>
                    <a:pt x="23" y="21"/>
                    <a:pt x="22" y="21"/>
                    <a:pt x="22" y="21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7" y="31"/>
                    <a:pt x="27" y="31"/>
                    <a:pt x="27" y="31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5" y="31"/>
                    <a:pt x="24" y="31"/>
                    <a:pt x="24" y="31"/>
                  </a:cubicBezTo>
                  <a:cubicBezTo>
                    <a:pt x="23" y="31"/>
                    <a:pt x="23" y="30"/>
                    <a:pt x="23" y="30"/>
                  </a:cubicBezTo>
                  <a:cubicBezTo>
                    <a:pt x="18" y="22"/>
                    <a:pt x="18" y="22"/>
                    <a:pt x="18" y="22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15" y="31"/>
                    <a:pt x="15" y="31"/>
                    <a:pt x="15" y="31"/>
                  </a:cubicBezTo>
                  <a:cubicBezTo>
                    <a:pt x="11" y="31"/>
                    <a:pt x="11" y="31"/>
                    <a:pt x="11" y="31"/>
                  </a:cubicBezTo>
                  <a:lnTo>
                    <a:pt x="11" y="8"/>
                  </a:lnTo>
                  <a:close/>
                  <a:moveTo>
                    <a:pt x="19" y="19"/>
                  </a:moveTo>
                  <a:cubicBezTo>
                    <a:pt x="22" y="19"/>
                    <a:pt x="23" y="17"/>
                    <a:pt x="23" y="14"/>
                  </a:cubicBezTo>
                  <a:cubicBezTo>
                    <a:pt x="23" y="13"/>
                    <a:pt x="23" y="12"/>
                    <a:pt x="22" y="12"/>
                  </a:cubicBezTo>
                  <a:cubicBezTo>
                    <a:pt x="21" y="11"/>
                    <a:pt x="20" y="11"/>
                    <a:pt x="18" y="11"/>
                  </a:cubicBezTo>
                  <a:cubicBezTo>
                    <a:pt x="17" y="11"/>
                    <a:pt x="17" y="11"/>
                    <a:pt x="16" y="11"/>
                  </a:cubicBezTo>
                  <a:cubicBezTo>
                    <a:pt x="16" y="11"/>
                    <a:pt x="15" y="11"/>
                    <a:pt x="15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9"/>
                    <a:pt x="15" y="19"/>
                    <a:pt x="15" y="19"/>
                  </a:cubicBezTo>
                  <a:lnTo>
                    <a:pt x="19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9" name="Rectangle 8"/>
          <p:cNvSpPr/>
          <p:nvPr/>
        </p:nvSpPr>
        <p:spPr>
          <a:xfrm flipH="1">
            <a:off x="6013517" y="0"/>
            <a:ext cx="665217" cy="473202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chemeClr val="bg2">
                  <a:lumMod val="40000"/>
                  <a:lumOff val="60000"/>
                </a:schemeClr>
              </a:solidFill>
              <a:latin typeface="Open Sans Bold"/>
              <a:cs typeface="Open Sans Bold"/>
            </a:endParaRPr>
          </a:p>
        </p:txBody>
      </p:sp>
      <p:sp>
        <p:nvSpPr>
          <p:cNvPr id="10" name="Title 2"/>
          <p:cNvSpPr txBox="1">
            <a:spLocks/>
          </p:cNvSpPr>
          <p:nvPr/>
        </p:nvSpPr>
        <p:spPr>
          <a:xfrm>
            <a:off x="7785134" y="3658242"/>
            <a:ext cx="3804526" cy="72713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i="0" kern="1200">
                <a:solidFill>
                  <a:schemeClr val="accent2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5400" dirty="0">
                <a:solidFill>
                  <a:schemeClr val="tx2"/>
                </a:solidFill>
                <a:latin typeface="Domaine Display Bold" panose="020A0803080505060203" pitchFamily="18" charset="0"/>
                <a:ea typeface="Domaine Display" charset="0"/>
                <a:cs typeface="Arial" panose="020B0604020202020204" pitchFamily="34" charset="0"/>
              </a:rPr>
              <a:t>into action.</a:t>
            </a:r>
          </a:p>
        </p:txBody>
      </p:sp>
      <p:sp>
        <p:nvSpPr>
          <p:cNvPr id="11" name="Title 1"/>
          <p:cNvSpPr txBox="1">
            <a:spLocks/>
          </p:cNvSpPr>
          <p:nvPr/>
        </p:nvSpPr>
        <p:spPr>
          <a:xfrm>
            <a:off x="4966177" y="2489623"/>
            <a:ext cx="5393559" cy="177082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7200" b="0" i="0" kern="1200">
                <a:solidFill>
                  <a:schemeClr val="bg1"/>
                </a:solidFill>
                <a:latin typeface="Domaine Display Bold" panose="020A0803080505060203" pitchFamily="18" charset="0"/>
                <a:ea typeface="Open Sans" panose="020B0606030504020204" pitchFamily="34" charset="0"/>
                <a:cs typeface="Domaine Display Bold" panose="020A0803080505060203" pitchFamily="18" charset="0"/>
              </a:defRPr>
            </a:lvl1pPr>
          </a:lstStyle>
          <a:p>
            <a:pPr algn="l">
              <a:lnSpc>
                <a:spcPct val="90000"/>
              </a:lnSpc>
            </a:pPr>
            <a:r>
              <a:rPr lang="en-US" sz="5400" dirty="0">
                <a:solidFill>
                  <a:srgbClr val="00859B"/>
                </a:solidFill>
                <a:ea typeface="Domaine Display" charset="0"/>
                <a:cs typeface="Arial" panose="020B0604020202020204" pitchFamily="34" charset="0"/>
              </a:rPr>
              <a:t>Turning vision</a:t>
            </a:r>
          </a:p>
        </p:txBody>
      </p:sp>
      <p:grpSp>
        <p:nvGrpSpPr>
          <p:cNvPr id="19" name="Group 18"/>
          <p:cNvGrpSpPr>
            <a:grpSpLocks noChangeAspect="1"/>
          </p:cNvGrpSpPr>
          <p:nvPr/>
        </p:nvGrpSpPr>
        <p:grpSpPr>
          <a:xfrm>
            <a:off x="360014" y="5393167"/>
            <a:ext cx="1928553" cy="1066141"/>
            <a:chOff x="7526204" y="2289887"/>
            <a:chExt cx="3108960" cy="1718692"/>
          </a:xfrm>
        </p:grpSpPr>
        <p:grpSp>
          <p:nvGrpSpPr>
            <p:cNvPr id="20" name="Group 19"/>
            <p:cNvGrpSpPr>
              <a:grpSpLocks noChangeAspect="1"/>
            </p:cNvGrpSpPr>
            <p:nvPr/>
          </p:nvGrpSpPr>
          <p:grpSpPr>
            <a:xfrm>
              <a:off x="8070916" y="2865025"/>
              <a:ext cx="2148840" cy="827025"/>
              <a:chOff x="-2522495" y="1678245"/>
              <a:chExt cx="2126771" cy="818532"/>
            </a:xfrm>
          </p:grpSpPr>
          <p:sp>
            <p:nvSpPr>
              <p:cNvPr id="22" name="TextBox 21"/>
              <p:cNvSpPr txBox="1">
                <a:spLocks/>
              </p:cNvSpPr>
              <p:nvPr/>
            </p:nvSpPr>
            <p:spPr>
              <a:xfrm>
                <a:off x="-2130523" y="1678245"/>
                <a:ext cx="486642" cy="382152"/>
              </a:xfrm>
              <a:custGeom>
                <a:avLst/>
                <a:gdLst/>
                <a:ahLst/>
                <a:cxnLst/>
                <a:rect l="l" t="t" r="r" b="b"/>
                <a:pathLst>
                  <a:path w="486642" h="382152">
                    <a:moveTo>
                      <a:pt x="150943" y="0"/>
                    </a:moveTo>
                    <a:cubicBezTo>
                      <a:pt x="191582" y="0"/>
                      <a:pt x="224490" y="12368"/>
                      <a:pt x="232082" y="39810"/>
                    </a:cubicBezTo>
                    <a:lnTo>
                      <a:pt x="232262" y="41192"/>
                    </a:lnTo>
                    <a:lnTo>
                      <a:pt x="244394" y="27828"/>
                    </a:lnTo>
                    <a:cubicBezTo>
                      <a:pt x="265912" y="9086"/>
                      <a:pt x="296328" y="0"/>
                      <a:pt x="331918" y="0"/>
                    </a:cubicBezTo>
                    <a:cubicBezTo>
                      <a:pt x="355140" y="0"/>
                      <a:pt x="375838" y="4038"/>
                      <a:pt x="390730" y="12620"/>
                    </a:cubicBezTo>
                    <a:lnTo>
                      <a:pt x="399550" y="19037"/>
                    </a:lnTo>
                    <a:lnTo>
                      <a:pt x="415123" y="9213"/>
                    </a:lnTo>
                    <a:cubicBezTo>
                      <a:pt x="421204" y="6846"/>
                      <a:pt x="427956" y="5553"/>
                      <a:pt x="435150" y="5553"/>
                    </a:cubicBezTo>
                    <a:cubicBezTo>
                      <a:pt x="464430" y="5553"/>
                      <a:pt x="486642" y="26250"/>
                      <a:pt x="486642" y="53511"/>
                    </a:cubicBezTo>
                    <a:cubicBezTo>
                      <a:pt x="486642" y="80772"/>
                      <a:pt x="464430" y="101974"/>
                      <a:pt x="435150" y="101974"/>
                    </a:cubicBezTo>
                    <a:cubicBezTo>
                      <a:pt x="420763" y="101974"/>
                      <a:pt x="408142" y="96674"/>
                      <a:pt x="399118" y="87965"/>
                    </a:cubicBezTo>
                    <a:lnTo>
                      <a:pt x="397141" y="85099"/>
                    </a:lnTo>
                    <a:lnTo>
                      <a:pt x="387023" y="90979"/>
                    </a:lnTo>
                    <a:cubicBezTo>
                      <a:pt x="381675" y="92887"/>
                      <a:pt x="375838" y="93897"/>
                      <a:pt x="369780" y="93897"/>
                    </a:cubicBezTo>
                    <a:cubicBezTo>
                      <a:pt x="355140" y="93897"/>
                      <a:pt x="342015" y="89354"/>
                      <a:pt x="335452" y="81781"/>
                    </a:cubicBezTo>
                    <a:cubicBezTo>
                      <a:pt x="350092" y="78247"/>
                      <a:pt x="359179" y="66132"/>
                      <a:pt x="359179" y="42910"/>
                    </a:cubicBezTo>
                    <a:cubicBezTo>
                      <a:pt x="359179" y="22717"/>
                      <a:pt x="350597" y="8077"/>
                      <a:pt x="331918" y="8077"/>
                    </a:cubicBezTo>
                    <a:cubicBezTo>
                      <a:pt x="308696" y="8077"/>
                      <a:pt x="300619" y="29784"/>
                      <a:pt x="300619" y="58054"/>
                    </a:cubicBezTo>
                    <a:lnTo>
                      <a:pt x="300619" y="132264"/>
                    </a:lnTo>
                    <a:lnTo>
                      <a:pt x="363217" y="132264"/>
                    </a:lnTo>
                    <a:lnTo>
                      <a:pt x="360693" y="144884"/>
                    </a:lnTo>
                    <a:lnTo>
                      <a:pt x="300619" y="144884"/>
                    </a:lnTo>
                    <a:lnTo>
                      <a:pt x="300619" y="327126"/>
                    </a:lnTo>
                    <a:cubicBezTo>
                      <a:pt x="300619" y="360445"/>
                      <a:pt x="312230" y="369027"/>
                      <a:pt x="339490" y="381142"/>
                    </a:cubicBezTo>
                    <a:lnTo>
                      <a:pt x="339490" y="382152"/>
                    </a:lnTo>
                    <a:lnTo>
                      <a:pt x="186529" y="382152"/>
                    </a:lnTo>
                    <a:lnTo>
                      <a:pt x="186529" y="381142"/>
                    </a:lnTo>
                    <a:cubicBezTo>
                      <a:pt x="208741" y="367007"/>
                      <a:pt x="210255" y="360445"/>
                      <a:pt x="210255" y="327126"/>
                    </a:cubicBezTo>
                    <a:lnTo>
                      <a:pt x="210255" y="144884"/>
                    </a:lnTo>
                    <a:lnTo>
                      <a:pt x="180976" y="144884"/>
                    </a:lnTo>
                    <a:lnTo>
                      <a:pt x="180976" y="139331"/>
                    </a:lnTo>
                    <a:lnTo>
                      <a:pt x="210255" y="128225"/>
                    </a:lnTo>
                    <a:lnTo>
                      <a:pt x="210255" y="113585"/>
                    </a:lnTo>
                    <a:lnTo>
                      <a:pt x="212504" y="87227"/>
                    </a:lnTo>
                    <a:lnTo>
                      <a:pt x="206048" y="90979"/>
                    </a:lnTo>
                    <a:cubicBezTo>
                      <a:pt x="200700" y="92887"/>
                      <a:pt x="194863" y="93897"/>
                      <a:pt x="188805" y="93897"/>
                    </a:cubicBezTo>
                    <a:cubicBezTo>
                      <a:pt x="174165" y="93897"/>
                      <a:pt x="161040" y="89354"/>
                      <a:pt x="154477" y="81781"/>
                    </a:cubicBezTo>
                    <a:cubicBezTo>
                      <a:pt x="169117" y="78247"/>
                      <a:pt x="178204" y="66132"/>
                      <a:pt x="178204" y="42910"/>
                    </a:cubicBezTo>
                    <a:cubicBezTo>
                      <a:pt x="178204" y="22717"/>
                      <a:pt x="169622" y="8077"/>
                      <a:pt x="150943" y="8077"/>
                    </a:cubicBezTo>
                    <a:cubicBezTo>
                      <a:pt x="127721" y="8077"/>
                      <a:pt x="119644" y="29784"/>
                      <a:pt x="119644" y="58054"/>
                    </a:cubicBezTo>
                    <a:lnTo>
                      <a:pt x="119644" y="132264"/>
                    </a:lnTo>
                    <a:lnTo>
                      <a:pt x="182242" y="132264"/>
                    </a:lnTo>
                    <a:lnTo>
                      <a:pt x="179718" y="144884"/>
                    </a:lnTo>
                    <a:lnTo>
                      <a:pt x="119644" y="144884"/>
                    </a:lnTo>
                    <a:lnTo>
                      <a:pt x="119644" y="327126"/>
                    </a:lnTo>
                    <a:cubicBezTo>
                      <a:pt x="119644" y="360445"/>
                      <a:pt x="131255" y="369027"/>
                      <a:pt x="158516" y="381142"/>
                    </a:cubicBezTo>
                    <a:lnTo>
                      <a:pt x="158516" y="382152"/>
                    </a:lnTo>
                    <a:lnTo>
                      <a:pt x="5554" y="382152"/>
                    </a:lnTo>
                    <a:lnTo>
                      <a:pt x="5554" y="381142"/>
                    </a:lnTo>
                    <a:cubicBezTo>
                      <a:pt x="27766" y="367007"/>
                      <a:pt x="29280" y="360445"/>
                      <a:pt x="29280" y="327126"/>
                    </a:cubicBezTo>
                    <a:lnTo>
                      <a:pt x="29280" y="144884"/>
                    </a:lnTo>
                    <a:lnTo>
                      <a:pt x="0" y="144884"/>
                    </a:lnTo>
                    <a:lnTo>
                      <a:pt x="0" y="139331"/>
                    </a:lnTo>
                    <a:lnTo>
                      <a:pt x="29280" y="128225"/>
                    </a:lnTo>
                    <a:lnTo>
                      <a:pt x="29280" y="113585"/>
                    </a:lnTo>
                    <a:cubicBezTo>
                      <a:pt x="29280" y="36347"/>
                      <a:pt x="79763" y="0"/>
                      <a:pt x="15094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23" name="TextBox 22"/>
              <p:cNvSpPr txBox="1">
                <a:spLocks/>
              </p:cNvSpPr>
              <p:nvPr/>
            </p:nvSpPr>
            <p:spPr>
              <a:xfrm>
                <a:off x="-2522495" y="1701971"/>
                <a:ext cx="362969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62969" h="363474">
                    <a:moveTo>
                      <a:pt x="181737" y="0"/>
                    </a:moveTo>
                    <a:cubicBezTo>
                      <a:pt x="285731" y="0"/>
                      <a:pt x="362969" y="75724"/>
                      <a:pt x="362969" y="181737"/>
                    </a:cubicBezTo>
                    <a:cubicBezTo>
                      <a:pt x="362969" y="287751"/>
                      <a:pt x="285731" y="363474"/>
                      <a:pt x="181737" y="363474"/>
                    </a:cubicBezTo>
                    <a:cubicBezTo>
                      <a:pt x="77238" y="363474"/>
                      <a:pt x="0" y="287751"/>
                      <a:pt x="0" y="181737"/>
                    </a:cubicBezTo>
                    <a:cubicBezTo>
                      <a:pt x="0" y="75724"/>
                      <a:pt x="77238" y="0"/>
                      <a:pt x="181737" y="0"/>
                    </a:cubicBezTo>
                    <a:close/>
                    <a:moveTo>
                      <a:pt x="181737" y="10097"/>
                    </a:moveTo>
                    <a:cubicBezTo>
                      <a:pt x="123682" y="10097"/>
                      <a:pt x="103994" y="70676"/>
                      <a:pt x="103994" y="181737"/>
                    </a:cubicBezTo>
                    <a:cubicBezTo>
                      <a:pt x="103994" y="292799"/>
                      <a:pt x="123682" y="353378"/>
                      <a:pt x="181737" y="353378"/>
                    </a:cubicBezTo>
                    <a:cubicBezTo>
                      <a:pt x="239287" y="353378"/>
                      <a:pt x="258975" y="292799"/>
                      <a:pt x="258975" y="181737"/>
                    </a:cubicBezTo>
                    <a:cubicBezTo>
                      <a:pt x="258975" y="70676"/>
                      <a:pt x="239287" y="10097"/>
                      <a:pt x="181737" y="1009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24" name="TextBox 23"/>
              <p:cNvSpPr txBox="1">
                <a:spLocks/>
              </p:cNvSpPr>
              <p:nvPr/>
            </p:nvSpPr>
            <p:spPr>
              <a:xfrm>
                <a:off x="-1602104" y="1805461"/>
                <a:ext cx="245345" cy="259984"/>
              </a:xfrm>
              <a:custGeom>
                <a:avLst/>
                <a:gdLst/>
                <a:ahLst/>
                <a:cxnLst/>
                <a:rect l="l" t="t" r="r" b="b"/>
                <a:pathLst>
                  <a:path w="245345" h="259984">
                    <a:moveTo>
                      <a:pt x="144885" y="0"/>
                    </a:moveTo>
                    <a:cubicBezTo>
                      <a:pt x="199406" y="0"/>
                      <a:pt x="240297" y="23726"/>
                      <a:pt x="240297" y="65122"/>
                    </a:cubicBezTo>
                    <a:cubicBezTo>
                      <a:pt x="240297" y="95411"/>
                      <a:pt x="217075" y="111061"/>
                      <a:pt x="192843" y="111061"/>
                    </a:cubicBezTo>
                    <a:cubicBezTo>
                      <a:pt x="166087" y="111061"/>
                      <a:pt x="150438" y="96421"/>
                      <a:pt x="148923" y="81781"/>
                    </a:cubicBezTo>
                    <a:cubicBezTo>
                      <a:pt x="151952" y="82791"/>
                      <a:pt x="155486" y="83296"/>
                      <a:pt x="158010" y="83296"/>
                    </a:cubicBezTo>
                    <a:cubicBezTo>
                      <a:pt x="176689" y="83296"/>
                      <a:pt x="184261" y="67646"/>
                      <a:pt x="184261" y="48463"/>
                    </a:cubicBezTo>
                    <a:cubicBezTo>
                      <a:pt x="184261" y="24231"/>
                      <a:pt x="171136" y="8582"/>
                      <a:pt x="145894" y="8582"/>
                    </a:cubicBezTo>
                    <a:cubicBezTo>
                      <a:pt x="110557" y="8582"/>
                      <a:pt x="93897" y="54016"/>
                      <a:pt x="93897" y="112575"/>
                    </a:cubicBezTo>
                    <a:cubicBezTo>
                      <a:pt x="93897" y="181737"/>
                      <a:pt x="124692" y="218589"/>
                      <a:pt x="171640" y="218589"/>
                    </a:cubicBezTo>
                    <a:cubicBezTo>
                      <a:pt x="200415" y="218589"/>
                      <a:pt x="226666" y="204958"/>
                      <a:pt x="242316" y="173659"/>
                    </a:cubicBezTo>
                    <a:lnTo>
                      <a:pt x="245345" y="175174"/>
                    </a:lnTo>
                    <a:cubicBezTo>
                      <a:pt x="231210" y="229190"/>
                      <a:pt x="185775" y="259984"/>
                      <a:pt x="129740" y="259984"/>
                    </a:cubicBezTo>
                    <a:cubicBezTo>
                      <a:pt x="60074" y="259984"/>
                      <a:pt x="0" y="213036"/>
                      <a:pt x="0" y="134788"/>
                    </a:cubicBezTo>
                    <a:cubicBezTo>
                      <a:pt x="0" y="49977"/>
                      <a:pt x="63608" y="0"/>
                      <a:pt x="144885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25" name="TextBox 24"/>
              <p:cNvSpPr txBox="1">
                <a:spLocks/>
              </p:cNvSpPr>
              <p:nvPr/>
            </p:nvSpPr>
            <p:spPr>
              <a:xfrm>
                <a:off x="-1335404" y="1805461"/>
                <a:ext cx="251908" cy="259984"/>
              </a:xfrm>
              <a:custGeom>
                <a:avLst/>
                <a:gdLst/>
                <a:ahLst/>
                <a:cxnLst/>
                <a:rect l="l" t="t" r="r" b="b"/>
                <a:pathLst>
                  <a:path w="251908" h="259984">
                    <a:moveTo>
                      <a:pt x="132264" y="0"/>
                    </a:moveTo>
                    <a:cubicBezTo>
                      <a:pt x="213541" y="0"/>
                      <a:pt x="251908" y="51996"/>
                      <a:pt x="251908" y="118633"/>
                    </a:cubicBezTo>
                    <a:lnTo>
                      <a:pt x="91373" y="118633"/>
                    </a:lnTo>
                    <a:cubicBezTo>
                      <a:pt x="91373" y="181232"/>
                      <a:pt x="124187" y="218589"/>
                      <a:pt x="172650" y="218589"/>
                    </a:cubicBezTo>
                    <a:cubicBezTo>
                      <a:pt x="203444" y="218589"/>
                      <a:pt x="230200" y="204958"/>
                      <a:pt x="245850" y="173659"/>
                    </a:cubicBezTo>
                    <a:lnTo>
                      <a:pt x="249383" y="175174"/>
                    </a:lnTo>
                    <a:cubicBezTo>
                      <a:pt x="234744" y="229190"/>
                      <a:pt x="189309" y="259984"/>
                      <a:pt x="131759" y="259984"/>
                    </a:cubicBezTo>
                    <a:cubicBezTo>
                      <a:pt x="59569" y="259984"/>
                      <a:pt x="0" y="212531"/>
                      <a:pt x="0" y="130244"/>
                    </a:cubicBezTo>
                    <a:cubicBezTo>
                      <a:pt x="0" y="50987"/>
                      <a:pt x="60074" y="0"/>
                      <a:pt x="132264" y="0"/>
                    </a:cubicBezTo>
                    <a:close/>
                    <a:moveTo>
                      <a:pt x="132264" y="8582"/>
                    </a:moveTo>
                    <a:cubicBezTo>
                      <a:pt x="106013" y="8582"/>
                      <a:pt x="92888" y="48463"/>
                      <a:pt x="91878" y="108032"/>
                    </a:cubicBezTo>
                    <a:lnTo>
                      <a:pt x="165078" y="108032"/>
                    </a:lnTo>
                    <a:cubicBezTo>
                      <a:pt x="165078" y="51492"/>
                      <a:pt x="161039" y="8582"/>
                      <a:pt x="132264" y="858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26" name="TextBox 25"/>
              <p:cNvSpPr txBox="1">
                <a:spLocks/>
              </p:cNvSpPr>
              <p:nvPr/>
            </p:nvSpPr>
            <p:spPr>
              <a:xfrm>
                <a:off x="-1766048" y="1810509"/>
                <a:ext cx="140846" cy="249888"/>
              </a:xfrm>
              <a:custGeom>
                <a:avLst/>
                <a:gdLst/>
                <a:ahLst/>
                <a:cxnLst/>
                <a:rect l="l" t="t" r="r" b="b"/>
                <a:pathLst>
                  <a:path w="140846" h="249888">
                    <a:moveTo>
                      <a:pt x="0" y="0"/>
                    </a:moveTo>
                    <a:lnTo>
                      <a:pt x="117119" y="0"/>
                    </a:lnTo>
                    <a:lnTo>
                      <a:pt x="117119" y="194862"/>
                    </a:lnTo>
                    <a:cubicBezTo>
                      <a:pt x="117119" y="228181"/>
                      <a:pt x="118633" y="234743"/>
                      <a:pt x="140846" y="248878"/>
                    </a:cubicBezTo>
                    <a:lnTo>
                      <a:pt x="140846" y="249888"/>
                    </a:lnTo>
                    <a:lnTo>
                      <a:pt x="3029" y="249888"/>
                    </a:lnTo>
                    <a:lnTo>
                      <a:pt x="3029" y="248878"/>
                    </a:lnTo>
                    <a:cubicBezTo>
                      <a:pt x="25241" y="234743"/>
                      <a:pt x="26755" y="228181"/>
                      <a:pt x="26755" y="194862"/>
                    </a:cubicBezTo>
                    <a:lnTo>
                      <a:pt x="26755" y="56035"/>
                    </a:lnTo>
                    <a:cubicBezTo>
                      <a:pt x="26755" y="21707"/>
                      <a:pt x="23726" y="14640"/>
                      <a:pt x="0" y="1009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27" name="TextBox 26"/>
              <p:cNvSpPr txBox="1">
                <a:spLocks/>
              </p:cNvSpPr>
              <p:nvPr/>
            </p:nvSpPr>
            <p:spPr>
              <a:xfrm>
                <a:off x="-1501643" y="2133303"/>
                <a:ext cx="323593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23593" h="363474">
                    <a:moveTo>
                      <a:pt x="190319" y="0"/>
                    </a:moveTo>
                    <a:cubicBezTo>
                      <a:pt x="236258" y="0"/>
                      <a:pt x="260994" y="15145"/>
                      <a:pt x="277653" y="15145"/>
                    </a:cubicBezTo>
                    <a:cubicBezTo>
                      <a:pt x="291284" y="15145"/>
                      <a:pt x="299866" y="9087"/>
                      <a:pt x="310467" y="0"/>
                    </a:cubicBezTo>
                    <a:lnTo>
                      <a:pt x="314001" y="120149"/>
                    </a:lnTo>
                    <a:lnTo>
                      <a:pt x="312991" y="120149"/>
                    </a:lnTo>
                    <a:cubicBezTo>
                      <a:pt x="287750" y="56541"/>
                      <a:pt x="250393" y="11107"/>
                      <a:pt x="199910" y="11107"/>
                    </a:cubicBezTo>
                    <a:cubicBezTo>
                      <a:pt x="137312" y="11107"/>
                      <a:pt x="101974" y="80268"/>
                      <a:pt x="101974" y="164573"/>
                    </a:cubicBezTo>
                    <a:cubicBezTo>
                      <a:pt x="101974" y="260490"/>
                      <a:pt x="155486" y="315011"/>
                      <a:pt x="221113" y="315011"/>
                    </a:cubicBezTo>
                    <a:cubicBezTo>
                      <a:pt x="263014" y="315011"/>
                      <a:pt x="297846" y="300371"/>
                      <a:pt x="320564" y="252918"/>
                    </a:cubicBezTo>
                    <a:lnTo>
                      <a:pt x="323593" y="253927"/>
                    </a:lnTo>
                    <a:cubicBezTo>
                      <a:pt x="306428" y="321574"/>
                      <a:pt x="252412" y="363474"/>
                      <a:pt x="173660" y="363474"/>
                    </a:cubicBezTo>
                    <a:cubicBezTo>
                      <a:pt x="74209" y="363474"/>
                      <a:pt x="0" y="293304"/>
                      <a:pt x="0" y="186786"/>
                    </a:cubicBezTo>
                    <a:cubicBezTo>
                      <a:pt x="0" y="76229"/>
                      <a:pt x="85820" y="0"/>
                      <a:pt x="19031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28" name="TextBox 27"/>
              <p:cNvSpPr txBox="1">
                <a:spLocks/>
              </p:cNvSpPr>
              <p:nvPr/>
            </p:nvSpPr>
            <p:spPr>
              <a:xfrm>
                <a:off x="-758693" y="2133303"/>
                <a:ext cx="362969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62969" h="363474">
                    <a:moveTo>
                      <a:pt x="181737" y="0"/>
                    </a:moveTo>
                    <a:cubicBezTo>
                      <a:pt x="285731" y="0"/>
                      <a:pt x="362969" y="75724"/>
                      <a:pt x="362969" y="181737"/>
                    </a:cubicBezTo>
                    <a:cubicBezTo>
                      <a:pt x="362969" y="287751"/>
                      <a:pt x="285731" y="363474"/>
                      <a:pt x="181737" y="363474"/>
                    </a:cubicBezTo>
                    <a:cubicBezTo>
                      <a:pt x="77238" y="363474"/>
                      <a:pt x="0" y="287751"/>
                      <a:pt x="0" y="181737"/>
                    </a:cubicBezTo>
                    <a:cubicBezTo>
                      <a:pt x="0" y="75724"/>
                      <a:pt x="77238" y="0"/>
                      <a:pt x="181737" y="0"/>
                    </a:cubicBezTo>
                    <a:close/>
                    <a:moveTo>
                      <a:pt x="181737" y="10097"/>
                    </a:moveTo>
                    <a:cubicBezTo>
                      <a:pt x="123682" y="10097"/>
                      <a:pt x="103994" y="70676"/>
                      <a:pt x="103994" y="181737"/>
                    </a:cubicBezTo>
                    <a:cubicBezTo>
                      <a:pt x="103994" y="292799"/>
                      <a:pt x="123682" y="353378"/>
                      <a:pt x="181737" y="353378"/>
                    </a:cubicBezTo>
                    <a:cubicBezTo>
                      <a:pt x="239287" y="353378"/>
                      <a:pt x="258975" y="292799"/>
                      <a:pt x="258975" y="181737"/>
                    </a:cubicBezTo>
                    <a:cubicBezTo>
                      <a:pt x="258975" y="70676"/>
                      <a:pt x="239287" y="10097"/>
                      <a:pt x="181737" y="1009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29" name="TextBox 28"/>
              <p:cNvSpPr txBox="1">
                <a:spLocks/>
              </p:cNvSpPr>
              <p:nvPr/>
            </p:nvSpPr>
            <p:spPr>
              <a:xfrm>
                <a:off x="-1156286" y="2133808"/>
                <a:ext cx="373571" cy="357921"/>
              </a:xfrm>
              <a:custGeom>
                <a:avLst/>
                <a:gdLst/>
                <a:ahLst/>
                <a:cxnLst/>
                <a:rect l="l" t="t" r="r" b="b"/>
                <a:pathLst>
                  <a:path w="373571" h="357921">
                    <a:moveTo>
                      <a:pt x="17164" y="0"/>
                    </a:moveTo>
                    <a:cubicBezTo>
                      <a:pt x="24232" y="3534"/>
                      <a:pt x="35338" y="4544"/>
                      <a:pt x="52502" y="4544"/>
                    </a:cubicBezTo>
                    <a:lnTo>
                      <a:pt x="321069" y="4544"/>
                    </a:lnTo>
                    <a:cubicBezTo>
                      <a:pt x="338233" y="4544"/>
                      <a:pt x="349339" y="3534"/>
                      <a:pt x="356407" y="0"/>
                    </a:cubicBezTo>
                    <a:lnTo>
                      <a:pt x="373571" y="119644"/>
                    </a:lnTo>
                    <a:lnTo>
                      <a:pt x="372561" y="119644"/>
                    </a:lnTo>
                    <a:cubicBezTo>
                      <a:pt x="329651" y="50988"/>
                      <a:pt x="309963" y="17669"/>
                      <a:pt x="255946" y="17669"/>
                    </a:cubicBezTo>
                    <a:lnTo>
                      <a:pt x="234239" y="17669"/>
                    </a:lnTo>
                    <a:lnTo>
                      <a:pt x="234239" y="297847"/>
                    </a:lnTo>
                    <a:cubicBezTo>
                      <a:pt x="234239" y="331165"/>
                      <a:pt x="240802" y="342272"/>
                      <a:pt x="263014" y="356912"/>
                    </a:cubicBezTo>
                    <a:lnTo>
                      <a:pt x="263014" y="357921"/>
                    </a:lnTo>
                    <a:lnTo>
                      <a:pt x="110557" y="357921"/>
                    </a:lnTo>
                    <a:lnTo>
                      <a:pt x="110557" y="356912"/>
                    </a:lnTo>
                    <a:cubicBezTo>
                      <a:pt x="133274" y="342272"/>
                      <a:pt x="139332" y="331165"/>
                      <a:pt x="139332" y="297847"/>
                    </a:cubicBezTo>
                    <a:lnTo>
                      <a:pt x="139332" y="17669"/>
                    </a:lnTo>
                    <a:lnTo>
                      <a:pt x="117624" y="17669"/>
                    </a:lnTo>
                    <a:cubicBezTo>
                      <a:pt x="63608" y="17669"/>
                      <a:pt x="43920" y="50988"/>
                      <a:pt x="1010" y="119644"/>
                    </a:cubicBezTo>
                    <a:lnTo>
                      <a:pt x="0" y="119644"/>
                    </a:lnTo>
                    <a:lnTo>
                      <a:pt x="17164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30" name="TextBox 29"/>
              <p:cNvSpPr txBox="1">
                <a:spLocks/>
              </p:cNvSpPr>
              <p:nvPr/>
            </p:nvSpPr>
            <p:spPr>
              <a:xfrm>
                <a:off x="-2145704" y="2148039"/>
                <a:ext cx="130738" cy="132991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31" name="TextBox 30"/>
              <p:cNvSpPr txBox="1">
                <a:spLocks/>
              </p:cNvSpPr>
              <p:nvPr/>
            </p:nvSpPr>
            <p:spPr>
              <a:xfrm>
                <a:off x="-1995442" y="2150070"/>
                <a:ext cx="79221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32" name="TextBox 31"/>
              <p:cNvSpPr txBox="1">
                <a:spLocks/>
              </p:cNvSpPr>
              <p:nvPr/>
            </p:nvSpPr>
            <p:spPr>
              <a:xfrm>
                <a:off x="-1879880" y="2150070"/>
                <a:ext cx="106535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33" name="TextBox 32"/>
              <p:cNvSpPr txBox="1">
                <a:spLocks/>
              </p:cNvSpPr>
              <p:nvPr/>
            </p:nvSpPr>
            <p:spPr>
              <a:xfrm>
                <a:off x="-1757317" y="2150070"/>
                <a:ext cx="107896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34" name="TextBox 33"/>
              <p:cNvSpPr txBox="1">
                <a:spLocks/>
              </p:cNvSpPr>
              <p:nvPr/>
            </p:nvSpPr>
            <p:spPr>
              <a:xfrm>
                <a:off x="-1623967" y="2150070"/>
                <a:ext cx="79221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</p:grpSp>
        <p:sp>
          <p:nvSpPr>
            <p:cNvPr id="21" name="Freeform 9"/>
            <p:cNvSpPr>
              <a:spLocks noEditPoints="1"/>
            </p:cNvSpPr>
            <p:nvPr/>
          </p:nvSpPr>
          <p:spPr bwMode="auto">
            <a:xfrm>
              <a:off x="7526204" y="2289887"/>
              <a:ext cx="3108960" cy="171869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715723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etna_OfficeCTO_071818_2">
  <a:themeElements>
    <a:clrScheme name="Aetna - CTO v3">
      <a:dk1>
        <a:srgbClr val="000000"/>
      </a:dk1>
      <a:lt1>
        <a:srgbClr val="FFFFFF"/>
      </a:lt1>
      <a:dk2>
        <a:srgbClr val="414141"/>
      </a:dk2>
      <a:lt2>
        <a:srgbClr val="C2C0C0"/>
      </a:lt2>
      <a:accent1>
        <a:srgbClr val="00859B"/>
      </a:accent1>
      <a:accent2>
        <a:srgbClr val="054D69"/>
      </a:accent2>
      <a:accent3>
        <a:srgbClr val="66CABB"/>
      </a:accent3>
      <a:accent4>
        <a:srgbClr val="B2DAE1"/>
      </a:accent4>
      <a:accent5>
        <a:srgbClr val="00A78E"/>
      </a:accent5>
      <a:accent6>
        <a:srgbClr val="7C3E98"/>
      </a:accent6>
      <a:hlink>
        <a:srgbClr val="563D82"/>
      </a:hlink>
      <a:folHlink>
        <a:srgbClr val="C1C0C0"/>
      </a:folHlink>
    </a:clrScheme>
    <a:fontScheme name="Custom 1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 b="1" dirty="0" smtClean="0">
            <a:latin typeface="Open Sans Bold"/>
            <a:cs typeface="Open Sans Bold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defTabSz="456758" fontAlgn="base">
          <a:spcBef>
            <a:spcPts val="1200"/>
          </a:spcBef>
          <a:defRPr dirty="0" err="1" smtClean="0">
            <a:solidFill>
              <a:schemeClr val="tx2"/>
            </a:solidFill>
            <a:cs typeface="Open Sans Ligh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etna_OfficeCTO_071818_2" id="{C46F64A1-5890-AE40-8FDD-BAF3FF129991}" vid="{80C111F3-AC81-CB4A-9F96-F154826B713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69E6DEB8F4FB049B548952547B6305B" ma:contentTypeVersion="23" ma:contentTypeDescription="Create a new document." ma:contentTypeScope="" ma:versionID="c215ccef8c3a36b16093470dad90619d">
  <xsd:schema xmlns:xsd="http://www.w3.org/2001/XMLSchema" xmlns:xs="http://www.w3.org/2001/XMLSchema" xmlns:p="http://schemas.microsoft.com/office/2006/metadata/properties" xmlns:ns2="b1cf5257-8992-498b-aff9-2ccb2706890d" xmlns:ns3="f8f3ac21-d33a-4f17-9d4e-9f9f14b93e81" targetNamespace="http://schemas.microsoft.com/office/2006/metadata/properties" ma:root="true" ma:fieldsID="3d38ed3f155d5df0c2af8249c3cff766" ns2:_="" ns3:_="">
    <xsd:import namespace="b1cf5257-8992-498b-aff9-2ccb2706890d"/>
    <xsd:import namespace="f8f3ac21-d33a-4f17-9d4e-9f9f14b93e81"/>
    <xsd:element name="properties">
      <xsd:complexType>
        <xsd:sequence>
          <xsd:element name="documentManagement">
            <xsd:complexType>
              <xsd:all>
                <xsd:element ref="ns2:Link_x0020_to_x0020_Document" minOccurs="0"/>
                <xsd:element ref="ns3:SharedWithUsers" minOccurs="0"/>
                <xsd:element ref="ns3:SharedWithDetails" minOccurs="0"/>
                <xsd:element ref="ns2:ne0396003d134c759a94fef6d5606d1a" minOccurs="0"/>
                <xsd:element ref="ns3:TaxCatchAll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1cf5257-8992-498b-aff9-2ccb2706890d" elementFormDefault="qualified">
    <xsd:import namespace="http://schemas.microsoft.com/office/2006/documentManagement/types"/>
    <xsd:import namespace="http://schemas.microsoft.com/office/infopath/2007/PartnerControls"/>
    <xsd:element name="Link_x0020_to_x0020_Document" ma:index="8" nillable="true" ma:displayName="Link to Document" ma:format="Hyperlink" ma:internalName="Link_x0020_to_x0020_Document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ne0396003d134c759a94fef6d5606d1a" ma:index="12" nillable="true" ma:taxonomy="true" ma:internalName="ne0396003d134c759a94fef6d5606d1a" ma:taxonomyFieldName="ItemStatus" ma:displayName="ItemStatus" ma:default="" ma:fieldId="{7e039600-3d13-4c75-9a94-fef6d5606d1a}" ma:taxonomyMulti="true" ma:sspId="3773e5d3-86f4-436a-b35a-a9b626cf6315" ma:termSetId="db40ae4d-ec6d-4fe5-b1a5-c9938661c4e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8f3ac21-d33a-4f17-9d4e-9f9f14b93e81" elementFormDefault="qualified">
    <xsd:import namespace="http://schemas.microsoft.com/office/2006/documentManagement/types"/>
    <xsd:import namespace="http://schemas.microsoft.com/office/infopath/2007/PartnerControls"/>
    <xsd:element name="SharedWithUsers" ma:index="9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3" nillable="true" ma:displayName="Taxonomy Catch All Column" ma:hidden="true" ma:list="{b152409f-fec3-4f87-b851-0f982ca0a3b0}" ma:internalName="TaxCatchAll" ma:showField="CatchAllData" ma:web="f8f3ac21-d33a-4f17-9d4e-9f9f14b93e8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ink_x0020_to_x0020_Document xmlns="b1cf5257-8992-498b-aff9-2ccb2706890d">
      <Url xsi:nil="true"/>
      <Description xsi:nil="true"/>
    </Link_x0020_to_x0020_Document>
    <TaxCatchAll xmlns="f8f3ac21-d33a-4f17-9d4e-9f9f14b93e81" xsi:nil="true"/>
    <ne0396003d134c759a94fef6d5606d1a xmlns="b1cf5257-8992-498b-aff9-2ccb2706890d">
      <Terms xmlns="http://schemas.microsoft.com/office/infopath/2007/PartnerControls"/>
    </ne0396003d134c759a94fef6d5606d1a>
  </documentManagement>
</p:properties>
</file>

<file path=customXml/itemProps1.xml><?xml version="1.0" encoding="utf-8"?>
<ds:datastoreItem xmlns:ds="http://schemas.openxmlformats.org/officeDocument/2006/customXml" ds:itemID="{D4E44BEB-8AF0-4594-BC35-55FCDF16113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B189C8C-E0AF-4C1E-B99A-68C1F1AA28B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1cf5257-8992-498b-aff9-2ccb2706890d"/>
    <ds:schemaRef ds:uri="f8f3ac21-d33a-4f17-9d4e-9f9f14b93e8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9FAEFC45-A24C-4A5D-A915-715D4694D729}">
  <ds:schemaRefs>
    <ds:schemaRef ds:uri="640900fa-8b29-4318-ac43-6b50d10474da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9ea8bc4d-1db1-4837-b00f-6e616e24289c"/>
    <ds:schemaRef ds:uri="http://www.w3.org/XML/1998/namespace"/>
    <ds:schemaRef ds:uri="http://purl.org/dc/dcmitype/"/>
    <ds:schemaRef ds:uri="b1cf5257-8992-498b-aff9-2ccb2706890d"/>
    <ds:schemaRef ds:uri="f8f3ac21-d33a-4f17-9d4e-9f9f14b93e81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etna Teal PPT template-widescreen</Template>
  <TotalTime>28026</TotalTime>
  <Words>545</Words>
  <Application>Microsoft Office PowerPoint</Application>
  <PresentationFormat>Custom</PresentationFormat>
  <Paragraphs>36</Paragraphs>
  <Slides>5</Slides>
  <Notes>3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6" baseType="lpstr">
      <vt:lpstr>Aetna_OfficeCTO_071818_2</vt:lpstr>
      <vt:lpstr>Analytics</vt:lpstr>
      <vt:lpstr>Unified Data Fabric (UDF)</vt:lpstr>
      <vt:lpstr>Analytics Fabric</vt:lpstr>
      <vt:lpstr>Unified Data Platform (UDP)</vt:lpstr>
      <vt:lpstr>PowerPoint Presentation</vt:lpstr>
    </vt:vector>
  </TitlesOfParts>
  <Company>Aetn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effrey Oddo</dc:creator>
  <cp:lastModifiedBy>Claudette Hickey</cp:lastModifiedBy>
  <cp:revision>967</cp:revision>
  <cp:lastPrinted>2018-07-20T14:34:16Z</cp:lastPrinted>
  <dcterms:created xsi:type="dcterms:W3CDTF">2017-11-30T21:15:50Z</dcterms:created>
  <dcterms:modified xsi:type="dcterms:W3CDTF">2022-03-11T15:42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69E6DEB8F4FB049B548952547B6305B</vt:lpwstr>
  </property>
  <property fmtid="{D5CDD505-2E9C-101B-9397-08002B2CF9AE}" pid="3" name="MSIP_Label_67599526-06ca-49cc-9fa9-5307800a949a_Enabled">
    <vt:lpwstr>True</vt:lpwstr>
  </property>
  <property fmtid="{D5CDD505-2E9C-101B-9397-08002B2CF9AE}" pid="4" name="MSIP_Label_67599526-06ca-49cc-9fa9-5307800a949a_SiteId">
    <vt:lpwstr>fabb61b8-3afe-4e75-b934-a47f782b8cd7</vt:lpwstr>
  </property>
  <property fmtid="{D5CDD505-2E9C-101B-9397-08002B2CF9AE}" pid="5" name="MSIP_Label_67599526-06ca-49cc-9fa9-5307800a949a_Owner">
    <vt:lpwstr>A754434@aeth.aetna.com</vt:lpwstr>
  </property>
  <property fmtid="{D5CDD505-2E9C-101B-9397-08002B2CF9AE}" pid="6" name="MSIP_Label_67599526-06ca-49cc-9fa9-5307800a949a_SetDate">
    <vt:lpwstr>2018-07-15T22:03:29.9738523Z</vt:lpwstr>
  </property>
  <property fmtid="{D5CDD505-2E9C-101B-9397-08002B2CF9AE}" pid="7" name="MSIP_Label_67599526-06ca-49cc-9fa9-5307800a949a_Name">
    <vt:lpwstr>Proprietary</vt:lpwstr>
  </property>
  <property fmtid="{D5CDD505-2E9C-101B-9397-08002B2CF9AE}" pid="8" name="MSIP_Label_67599526-06ca-49cc-9fa9-5307800a949a_Application">
    <vt:lpwstr>Microsoft Azure Information Protection</vt:lpwstr>
  </property>
  <property fmtid="{D5CDD505-2E9C-101B-9397-08002B2CF9AE}" pid="9" name="MSIP_Label_67599526-06ca-49cc-9fa9-5307800a949a_Extended_MSFT_Method">
    <vt:lpwstr>Automatic</vt:lpwstr>
  </property>
  <property fmtid="{D5CDD505-2E9C-101B-9397-08002B2CF9AE}" pid="10" name="Sensitivity">
    <vt:lpwstr>Proprietary</vt:lpwstr>
  </property>
  <property fmtid="{D5CDD505-2E9C-101B-9397-08002B2CF9AE}" pid="11" name="Order">
    <vt:r8>1188600</vt:r8>
  </property>
</Properties>
</file>